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tags/tag98.xml" ContentType="application/vnd.openxmlformats-officedocument.presentationml.tags+xml"/>
  <Override PartName="/ppt/notesSlides/notesSlide8.xml" ContentType="application/vnd.openxmlformats-officedocument.presentationml.notesSlide+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notesSlides/notesSlide10.xml" ContentType="application/vnd.openxmlformats-officedocument.presentationml.notesSlide+xml"/>
  <Override PartName="/ppt/tags/tag101.xml" ContentType="application/vnd.openxmlformats-officedocument.presentationml.tags+xml"/>
  <Override PartName="/ppt/notesSlides/notesSlide11.xml" ContentType="application/vnd.openxmlformats-officedocument.presentationml.notesSlide+xml"/>
  <Override PartName="/ppt/tags/tag102.xml" ContentType="application/vnd.openxmlformats-officedocument.presentationml.tags+xml"/>
  <Override PartName="/ppt/notesSlides/notesSlide12.xml" ContentType="application/vnd.openxmlformats-officedocument.presentationml.notesSlide+xml"/>
  <Override PartName="/ppt/tags/tag103.xml" ContentType="application/vnd.openxmlformats-officedocument.presentationml.tags+xml"/>
  <Override PartName="/ppt/notesSlides/notesSlide13.xml" ContentType="application/vnd.openxmlformats-officedocument.presentationml.notesSlide+xml"/>
  <Override PartName="/ppt/tags/tag10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0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06.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Lst>
  <p:notesMasterIdLst>
    <p:notesMasterId r:id="rId31"/>
  </p:notesMasterIdLst>
  <p:sldIdLst>
    <p:sldId id="256" r:id="rId5"/>
    <p:sldId id="257" r:id="rId6"/>
    <p:sldId id="2147481253" r:id="rId7"/>
    <p:sldId id="258" r:id="rId8"/>
    <p:sldId id="259" r:id="rId9"/>
    <p:sldId id="260" r:id="rId10"/>
    <p:sldId id="261" r:id="rId11"/>
    <p:sldId id="262" r:id="rId12"/>
    <p:sldId id="263" r:id="rId13"/>
    <p:sldId id="2147481242" r:id="rId14"/>
    <p:sldId id="2147481243" r:id="rId15"/>
    <p:sldId id="2147481252" r:id="rId16"/>
    <p:sldId id="2147481218" r:id="rId17"/>
    <p:sldId id="2147481224" r:id="rId18"/>
    <p:sldId id="2147481247" r:id="rId19"/>
    <p:sldId id="2147481251" r:id="rId20"/>
    <p:sldId id="2147481254" r:id="rId21"/>
    <p:sldId id="2147481229" r:id="rId22"/>
    <p:sldId id="2147481152" r:id="rId23"/>
    <p:sldId id="2147481210" r:id="rId24"/>
    <p:sldId id="2147481212" r:id="rId25"/>
    <p:sldId id="2147481225" r:id="rId26"/>
    <p:sldId id="2147481226" r:id="rId27"/>
    <p:sldId id="2147481202" r:id="rId28"/>
    <p:sldId id="2147481234" r:id="rId29"/>
    <p:sldId id="2147481255"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9C9C9"/>
    <a:srgbClr val="EDEAEB"/>
    <a:srgbClr val="ECEAEB"/>
    <a:srgbClr val="D2D2D2"/>
    <a:srgbClr val="E4E4E4"/>
    <a:srgbClr val="B4B4B4"/>
    <a:srgbClr val="B3B3B3"/>
    <a:srgbClr val="DBDBDC"/>
    <a:srgbClr val="AF7DEB"/>
    <a:srgbClr val="7878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50DBB4-049F-43B9-8C7E-74D5F6F8339E}" v="189" dt="2025-04-24T02:55:31.867"/>
    <p1510:client id="{1EEBDF5A-B547-4334-8445-AD9A95FADCEF}" v="815" dt="2025-04-24T04:29:04.624"/>
    <p1510:client id="{27DD1631-28E8-4C5C-B6A1-C7C5115843CD}" v="1" dt="2025-04-24T01:00:59.818"/>
    <p1510:client id="{27EBDC3E-1717-4941-9881-76EA1BDD8C1A}" v="47" dt="2025-04-24T00:52:38.239"/>
    <p1510:client id="{3DF91A8E-409B-4E26-8A2D-3D042953CA60}" v="24" dt="2025-04-23T21:33:59.951"/>
    <p1510:client id="{70126BFB-B880-4F42-BFAF-77CE3BE80301}" v="50" dt="2025-04-24T03:25:30.316"/>
    <p1510:client id="{7A6D67C1-27BA-4F16-952B-0E385FEF0B3E}" v="25" dt="2025-04-24T13:19:19.168"/>
    <p1510:client id="{8E1227E7-F840-4135-86D1-F1A51D973D72}" v="23" dt="2025-04-24T03:16:21.526"/>
    <p1510:client id="{A78CA733-932C-4D0D-9029-C993D74D768D}" v="853" dt="2025-04-23T20:49:42.237"/>
    <p1510:client id="{E1167D9B-0EA6-41CA-9CA2-DB08312BC3E6}" v="27" dt="2025-04-23T21:52:48.900"/>
    <p1510:client id="{FF91A524-62ED-4490-8146-50F61C009808}" v="5" dt="2025-04-24T03:29:24.8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85"/>
    <p:restoredTop sz="94704"/>
  </p:normalViewPr>
  <p:slideViewPr>
    <p:cSldViewPr snapToGrid="0">
      <p:cViewPr varScale="1">
        <p:scale>
          <a:sx n="120" d="100"/>
          <a:sy n="120" d="100"/>
        </p:scale>
        <p:origin x="72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zu-Yun Huang" userId="lS+ajudh2i5VXDkFktXKQ7oaF5t8cwF8tc4M5/f7XeE=" providerId="None" clId="Web-{3DF91A8E-409B-4E26-8A2D-3D042953CA60}"/>
    <pc:docChg chg="modSld">
      <pc:chgData name="Tzu-Yun Huang" userId="lS+ajudh2i5VXDkFktXKQ7oaF5t8cwF8tc4M5/f7XeE=" providerId="None" clId="Web-{3DF91A8E-409B-4E26-8A2D-3D042953CA60}" dt="2025-04-23T21:33:59.951" v="21" actId="1076"/>
      <pc:docMkLst>
        <pc:docMk/>
      </pc:docMkLst>
      <pc:sldChg chg="modSp">
        <pc:chgData name="Tzu-Yun Huang" userId="lS+ajudh2i5VXDkFktXKQ7oaF5t8cwF8tc4M5/f7XeE=" providerId="None" clId="Web-{3DF91A8E-409B-4E26-8A2D-3D042953CA60}" dt="2025-04-23T21:33:59.951" v="21" actId="1076"/>
        <pc:sldMkLst>
          <pc:docMk/>
          <pc:sldMk cId="2741420390" sldId="256"/>
        </pc:sldMkLst>
        <pc:spChg chg="mod">
          <ac:chgData name="Tzu-Yun Huang" userId="lS+ajudh2i5VXDkFktXKQ7oaF5t8cwF8tc4M5/f7XeE=" providerId="None" clId="Web-{3DF91A8E-409B-4E26-8A2D-3D042953CA60}" dt="2025-04-23T21:33:42.076" v="20" actId="20577"/>
          <ac:spMkLst>
            <pc:docMk/>
            <pc:sldMk cId="2741420390" sldId="256"/>
            <ac:spMk id="5" creationId="{E678D674-EF39-464E-A2D6-600223C7D251}"/>
          </ac:spMkLst>
        </pc:spChg>
        <pc:spChg chg="mod">
          <ac:chgData name="Tzu-Yun Huang" userId="lS+ajudh2i5VXDkFktXKQ7oaF5t8cwF8tc4M5/f7XeE=" providerId="None" clId="Web-{3DF91A8E-409B-4E26-8A2D-3D042953CA60}" dt="2025-04-23T21:33:59.951" v="21" actId="1076"/>
          <ac:spMkLst>
            <pc:docMk/>
            <pc:sldMk cId="2741420390" sldId="256"/>
            <ac:spMk id="6" creationId="{9AC79A8B-23A0-40AE-B08B-63217B0FF8C7}"/>
          </ac:spMkLst>
        </pc:spChg>
      </pc:sldChg>
    </pc:docChg>
  </pc:docChgLst>
  <pc:docChgLst>
    <pc:chgData name="Deepthi V" userId="VTKoIbwtaEVk1/Pwt+SJqOUzkLNcC7ysPNfQ6nY3HfE=" providerId="None" clId="Web-{E1167D9B-0EA6-41CA-9CA2-DB08312BC3E6}"/>
    <pc:docChg chg="modSld">
      <pc:chgData name="Deepthi V" userId="VTKoIbwtaEVk1/Pwt+SJqOUzkLNcC7ysPNfQ6nY3HfE=" providerId="None" clId="Web-{E1167D9B-0EA6-41CA-9CA2-DB08312BC3E6}" dt="2025-04-23T21:52:48.478" v="14" actId="20577"/>
      <pc:docMkLst>
        <pc:docMk/>
      </pc:docMkLst>
      <pc:sldChg chg="modSp">
        <pc:chgData name="Deepthi V" userId="VTKoIbwtaEVk1/Pwt+SJqOUzkLNcC7ysPNfQ6nY3HfE=" providerId="None" clId="Web-{E1167D9B-0EA6-41CA-9CA2-DB08312BC3E6}" dt="2025-04-23T21:52:48.478" v="14" actId="20577"/>
        <pc:sldMkLst>
          <pc:docMk/>
          <pc:sldMk cId="2837215924" sldId="2147481218"/>
        </pc:sldMkLst>
        <pc:spChg chg="mod">
          <ac:chgData name="Deepthi V" userId="VTKoIbwtaEVk1/Pwt+SJqOUzkLNcC7ysPNfQ6nY3HfE=" providerId="None" clId="Web-{E1167D9B-0EA6-41CA-9CA2-DB08312BC3E6}" dt="2025-04-23T21:52:48.478" v="14" actId="20577"/>
          <ac:spMkLst>
            <pc:docMk/>
            <pc:sldMk cId="2837215924" sldId="2147481218"/>
            <ac:spMk id="29" creationId="{6D9DA9B0-6B6F-01D7-C1A8-8D1EC1235D97}"/>
          </ac:spMkLst>
        </pc:spChg>
      </pc:sldChg>
    </pc:docChg>
  </pc:docChgLst>
  <pc:docChgLst>
    <pc:chgData name="Deepthi V" userId="VTKoIbwtaEVk1/Pwt+SJqOUzkLNcC7ysPNfQ6nY3HfE=" providerId="None" clId="Web-{27EBDC3E-1717-4941-9881-76EA1BDD8C1A}"/>
    <pc:docChg chg="modSld">
      <pc:chgData name="Deepthi V" userId="VTKoIbwtaEVk1/Pwt+SJqOUzkLNcC7ysPNfQ6nY3HfE=" providerId="None" clId="Web-{27EBDC3E-1717-4941-9881-76EA1BDD8C1A}" dt="2025-04-24T00:52:33.333" v="13" actId="20577"/>
      <pc:docMkLst>
        <pc:docMk/>
      </pc:docMkLst>
      <pc:sldChg chg="modSp">
        <pc:chgData name="Deepthi V" userId="VTKoIbwtaEVk1/Pwt+SJqOUzkLNcC7ysPNfQ6nY3HfE=" providerId="None" clId="Web-{27EBDC3E-1717-4941-9881-76EA1BDD8C1A}" dt="2025-04-24T00:51:48.520" v="8" actId="20577"/>
        <pc:sldMkLst>
          <pc:docMk/>
          <pc:sldMk cId="2741420390" sldId="256"/>
        </pc:sldMkLst>
        <pc:spChg chg="mod">
          <ac:chgData name="Deepthi V" userId="VTKoIbwtaEVk1/Pwt+SJqOUzkLNcC7ysPNfQ6nY3HfE=" providerId="None" clId="Web-{27EBDC3E-1717-4941-9881-76EA1BDD8C1A}" dt="2025-04-24T00:51:48.520" v="8" actId="20577"/>
          <ac:spMkLst>
            <pc:docMk/>
            <pc:sldMk cId="2741420390" sldId="256"/>
            <ac:spMk id="5" creationId="{E678D674-EF39-464E-A2D6-600223C7D251}"/>
          </ac:spMkLst>
        </pc:spChg>
      </pc:sldChg>
      <pc:sldChg chg="modSp">
        <pc:chgData name="Deepthi V" userId="VTKoIbwtaEVk1/Pwt+SJqOUzkLNcC7ysPNfQ6nY3HfE=" providerId="None" clId="Web-{27EBDC3E-1717-4941-9881-76EA1BDD8C1A}" dt="2025-04-24T00:33:23.215" v="3" actId="20577"/>
        <pc:sldMkLst>
          <pc:docMk/>
          <pc:sldMk cId="2277327492" sldId="259"/>
        </pc:sldMkLst>
        <pc:spChg chg="mod">
          <ac:chgData name="Deepthi V" userId="VTKoIbwtaEVk1/Pwt+SJqOUzkLNcC7ysPNfQ6nY3HfE=" providerId="None" clId="Web-{27EBDC3E-1717-4941-9881-76EA1BDD8C1A}" dt="2025-04-24T00:33:23.215" v="3" actId="20577"/>
          <ac:spMkLst>
            <pc:docMk/>
            <pc:sldMk cId="2277327492" sldId="259"/>
            <ac:spMk id="41" creationId="{5ABF249D-E86C-4B4A-D08A-1BB7C4564201}"/>
          </ac:spMkLst>
        </pc:spChg>
      </pc:sldChg>
      <pc:sldChg chg="modSp">
        <pc:chgData name="Deepthi V" userId="VTKoIbwtaEVk1/Pwt+SJqOUzkLNcC7ysPNfQ6nY3HfE=" providerId="None" clId="Web-{27EBDC3E-1717-4941-9881-76EA1BDD8C1A}" dt="2025-04-24T00:52:33.333" v="13" actId="20577"/>
        <pc:sldMkLst>
          <pc:docMk/>
          <pc:sldMk cId="1331725311" sldId="2147481226"/>
        </pc:sldMkLst>
        <pc:spChg chg="mod">
          <ac:chgData name="Deepthi V" userId="VTKoIbwtaEVk1/Pwt+SJqOUzkLNcC7ysPNfQ6nY3HfE=" providerId="None" clId="Web-{27EBDC3E-1717-4941-9881-76EA1BDD8C1A}" dt="2025-04-24T00:52:33.333" v="13" actId="20577"/>
          <ac:spMkLst>
            <pc:docMk/>
            <pc:sldMk cId="1331725311" sldId="2147481226"/>
            <ac:spMk id="5" creationId="{32C615D9-A162-A08C-864A-417AD344D563}"/>
          </ac:spMkLst>
        </pc:spChg>
        <pc:graphicFrameChg chg="mod modGraphic">
          <ac:chgData name="Deepthi V" userId="VTKoIbwtaEVk1/Pwt+SJqOUzkLNcC7ysPNfQ6nY3HfE=" providerId="None" clId="Web-{27EBDC3E-1717-4941-9881-76EA1BDD8C1A}" dt="2025-04-24T00:51:35.708" v="5"/>
          <ac:graphicFrameMkLst>
            <pc:docMk/>
            <pc:sldMk cId="1331725311" sldId="2147481226"/>
            <ac:graphicFrameMk id="14" creationId="{1FE5A9FF-9D51-8555-C00A-1FB3C72196A8}"/>
          </ac:graphicFrameMkLst>
        </pc:graphicFrameChg>
      </pc:sldChg>
      <pc:sldChg chg="modSp">
        <pc:chgData name="Deepthi V" userId="VTKoIbwtaEVk1/Pwt+SJqOUzkLNcC7ysPNfQ6nY3HfE=" providerId="None" clId="Web-{27EBDC3E-1717-4941-9881-76EA1BDD8C1A}" dt="2025-04-24T00:51:38.895" v="7" actId="20577"/>
        <pc:sldMkLst>
          <pc:docMk/>
          <pc:sldMk cId="1260691043" sldId="2147481234"/>
        </pc:sldMkLst>
        <pc:spChg chg="mod">
          <ac:chgData name="Deepthi V" userId="VTKoIbwtaEVk1/Pwt+SJqOUzkLNcC7ysPNfQ6nY3HfE=" providerId="None" clId="Web-{27EBDC3E-1717-4941-9881-76EA1BDD8C1A}" dt="2025-04-24T00:51:38.895" v="7" actId="20577"/>
          <ac:spMkLst>
            <pc:docMk/>
            <pc:sldMk cId="1260691043" sldId="2147481234"/>
            <ac:spMk id="7" creationId="{8E9A07B2-9E94-86BF-DFC7-216981F25CF7}"/>
          </ac:spMkLst>
        </pc:spChg>
      </pc:sldChg>
      <pc:sldChg chg="modSp">
        <pc:chgData name="Deepthi V" userId="VTKoIbwtaEVk1/Pwt+SJqOUzkLNcC7ysPNfQ6nY3HfE=" providerId="None" clId="Web-{27EBDC3E-1717-4941-9881-76EA1BDD8C1A}" dt="2025-04-24T00:52:06.614" v="10" actId="20577"/>
        <pc:sldMkLst>
          <pc:docMk/>
          <pc:sldMk cId="1554780551" sldId="2147481242"/>
        </pc:sldMkLst>
        <pc:spChg chg="mod">
          <ac:chgData name="Deepthi V" userId="VTKoIbwtaEVk1/Pwt+SJqOUzkLNcC7ysPNfQ6nY3HfE=" providerId="None" clId="Web-{27EBDC3E-1717-4941-9881-76EA1BDD8C1A}" dt="2025-04-24T00:52:06.614" v="10" actId="20577"/>
          <ac:spMkLst>
            <pc:docMk/>
            <pc:sldMk cId="1554780551" sldId="2147481242"/>
            <ac:spMk id="40" creationId="{A4A54BAD-65B6-7190-EDB0-0D69A4BFCB8A}"/>
          </ac:spMkLst>
        </pc:spChg>
      </pc:sldChg>
    </pc:docChg>
  </pc:docChgLst>
  <pc:docChgLst>
    <pc:chgData name="Tzu-Yun Huang" userId="lS+ajudh2i5VXDkFktXKQ7oaF5t8cwF8tc4M5/f7XeE=" providerId="None" clId="Web-{A78CA733-932C-4D0D-9029-C993D74D768D}"/>
    <pc:docChg chg="delSld modSld">
      <pc:chgData name="Tzu-Yun Huang" userId="lS+ajudh2i5VXDkFktXKQ7oaF5t8cwF8tc4M5/f7XeE=" providerId="None" clId="Web-{A78CA733-932C-4D0D-9029-C993D74D768D}" dt="2025-04-23T20:49:42.237" v="586" actId="1076"/>
      <pc:docMkLst>
        <pc:docMk/>
      </pc:docMkLst>
      <pc:sldChg chg="modSp">
        <pc:chgData name="Tzu-Yun Huang" userId="lS+ajudh2i5VXDkFktXKQ7oaF5t8cwF8tc4M5/f7XeE=" providerId="None" clId="Web-{A78CA733-932C-4D0D-9029-C993D74D768D}" dt="2025-04-23T20:49:42.237" v="586" actId="1076"/>
        <pc:sldMkLst>
          <pc:docMk/>
          <pc:sldMk cId="2741420390" sldId="256"/>
        </pc:sldMkLst>
        <pc:spChg chg="mod">
          <ac:chgData name="Tzu-Yun Huang" userId="lS+ajudh2i5VXDkFktXKQ7oaF5t8cwF8tc4M5/f7XeE=" providerId="None" clId="Web-{A78CA733-932C-4D0D-9029-C993D74D768D}" dt="2025-04-23T20:49:28.846" v="585" actId="20577"/>
          <ac:spMkLst>
            <pc:docMk/>
            <pc:sldMk cId="2741420390" sldId="256"/>
            <ac:spMk id="5" creationId="{E678D674-EF39-464E-A2D6-600223C7D251}"/>
          </ac:spMkLst>
        </pc:spChg>
        <pc:spChg chg="mod">
          <ac:chgData name="Tzu-Yun Huang" userId="lS+ajudh2i5VXDkFktXKQ7oaF5t8cwF8tc4M5/f7XeE=" providerId="None" clId="Web-{A78CA733-932C-4D0D-9029-C993D74D768D}" dt="2025-04-23T20:49:42.237" v="586" actId="1076"/>
          <ac:spMkLst>
            <pc:docMk/>
            <pc:sldMk cId="2741420390" sldId="256"/>
            <ac:spMk id="6" creationId="{9AC79A8B-23A0-40AE-B08B-63217B0FF8C7}"/>
          </ac:spMkLst>
        </pc:spChg>
      </pc:sldChg>
      <pc:sldChg chg="addSp delSp modSp">
        <pc:chgData name="Tzu-Yun Huang" userId="lS+ajudh2i5VXDkFktXKQ7oaF5t8cwF8tc4M5/f7XeE=" providerId="None" clId="Web-{A78CA733-932C-4D0D-9029-C993D74D768D}" dt="2025-04-23T03:58:11.137" v="135" actId="1076"/>
        <pc:sldMkLst>
          <pc:docMk/>
          <pc:sldMk cId="2379717830" sldId="2147481225"/>
        </pc:sldMkLst>
        <pc:spChg chg="mod">
          <ac:chgData name="Tzu-Yun Huang" userId="lS+ajudh2i5VXDkFktXKQ7oaF5t8cwF8tc4M5/f7XeE=" providerId="None" clId="Web-{A78CA733-932C-4D0D-9029-C993D74D768D}" dt="2025-04-23T03:55:55.600" v="54" actId="20577"/>
          <ac:spMkLst>
            <pc:docMk/>
            <pc:sldMk cId="2379717830" sldId="2147481225"/>
            <ac:spMk id="3" creationId="{93526616-D3E2-3126-057E-EF954F5C659A}"/>
          </ac:spMkLst>
        </pc:spChg>
        <pc:spChg chg="add mod">
          <ac:chgData name="Tzu-Yun Huang" userId="lS+ajudh2i5VXDkFktXKQ7oaF5t8cwF8tc4M5/f7XeE=" providerId="None" clId="Web-{A78CA733-932C-4D0D-9029-C993D74D768D}" dt="2025-04-23T03:56:46.758" v="91" actId="1076"/>
          <ac:spMkLst>
            <pc:docMk/>
            <pc:sldMk cId="2379717830" sldId="2147481225"/>
            <ac:spMk id="19" creationId="{BD87EEF3-D471-FFE8-A91E-8981645816C1}"/>
          </ac:spMkLst>
        </pc:spChg>
        <pc:spChg chg="add mod">
          <ac:chgData name="Tzu-Yun Huang" userId="lS+ajudh2i5VXDkFktXKQ7oaF5t8cwF8tc4M5/f7XeE=" providerId="None" clId="Web-{A78CA733-932C-4D0D-9029-C993D74D768D}" dt="2025-04-23T03:58:11.137" v="135" actId="1076"/>
          <ac:spMkLst>
            <pc:docMk/>
            <pc:sldMk cId="2379717830" sldId="2147481225"/>
            <ac:spMk id="21" creationId="{B1E2A192-F941-420F-D07B-B42C69680F73}"/>
          </ac:spMkLst>
        </pc:spChg>
        <pc:spChg chg="add mod">
          <ac:chgData name="Tzu-Yun Huang" userId="lS+ajudh2i5VXDkFktXKQ7oaF5t8cwF8tc4M5/f7XeE=" providerId="None" clId="Web-{A78CA733-932C-4D0D-9029-C993D74D768D}" dt="2025-04-23T03:57:14.556" v="106" actId="1076"/>
          <ac:spMkLst>
            <pc:docMk/>
            <pc:sldMk cId="2379717830" sldId="2147481225"/>
            <ac:spMk id="23" creationId="{1EB7EEA6-F9FD-258B-44D0-5532FA39CE16}"/>
          </ac:spMkLst>
        </pc:spChg>
        <pc:spChg chg="add del">
          <ac:chgData name="Tzu-Yun Huang" userId="lS+ajudh2i5VXDkFktXKQ7oaF5t8cwF8tc4M5/f7XeE=" providerId="None" clId="Web-{A78CA733-932C-4D0D-9029-C993D74D768D}" dt="2025-04-23T03:57:20.682" v="108"/>
          <ac:spMkLst>
            <pc:docMk/>
            <pc:sldMk cId="2379717830" sldId="2147481225"/>
            <ac:spMk id="26" creationId="{391B17D5-A323-3004-ADC0-E2131F773F2A}"/>
          </ac:spMkLst>
        </pc:spChg>
        <pc:spChg chg="add mod">
          <ac:chgData name="Tzu-Yun Huang" userId="lS+ajudh2i5VXDkFktXKQ7oaF5t8cwF8tc4M5/f7XeE=" providerId="None" clId="Web-{A78CA733-932C-4D0D-9029-C993D74D768D}" dt="2025-04-23T03:57:38.620" v="117" actId="1076"/>
          <ac:spMkLst>
            <pc:docMk/>
            <pc:sldMk cId="2379717830" sldId="2147481225"/>
            <ac:spMk id="27" creationId="{CDE72D23-B7C8-E753-F9A7-877A6A19541E}"/>
          </ac:spMkLst>
        </pc:spChg>
        <pc:graphicFrameChg chg="mod modGraphic">
          <ac:chgData name="Tzu-Yun Huang" userId="lS+ajudh2i5VXDkFktXKQ7oaF5t8cwF8tc4M5/f7XeE=" providerId="None" clId="Web-{A78CA733-932C-4D0D-9029-C993D74D768D}" dt="2025-04-23T03:55:38.428" v="51"/>
          <ac:graphicFrameMkLst>
            <pc:docMk/>
            <pc:sldMk cId="2379717830" sldId="2147481225"/>
            <ac:graphicFrameMk id="4" creationId="{33750E14-E657-8526-DC95-3C486AB3D57E}"/>
          </ac:graphicFrameMkLst>
        </pc:graphicFrameChg>
      </pc:sldChg>
      <pc:sldChg chg="addSp modSp">
        <pc:chgData name="Tzu-Yun Huang" userId="lS+ajudh2i5VXDkFktXKQ7oaF5t8cwF8tc4M5/f7XeE=" providerId="None" clId="Web-{A78CA733-932C-4D0D-9029-C993D74D768D}" dt="2025-04-23T04:04:57.906" v="568" actId="20577"/>
        <pc:sldMkLst>
          <pc:docMk/>
          <pc:sldMk cId="1331725311" sldId="2147481226"/>
        </pc:sldMkLst>
        <pc:spChg chg="add mod">
          <ac:chgData name="Tzu-Yun Huang" userId="lS+ajudh2i5VXDkFktXKQ7oaF5t8cwF8tc4M5/f7XeE=" providerId="None" clId="Web-{A78CA733-932C-4D0D-9029-C993D74D768D}" dt="2025-04-23T04:04:37.077" v="558" actId="1076"/>
          <ac:spMkLst>
            <pc:docMk/>
            <pc:sldMk cId="1331725311" sldId="2147481226"/>
            <ac:spMk id="9" creationId="{14149784-BFAE-CF0B-48B3-B32CF1303F11}"/>
          </ac:spMkLst>
        </pc:spChg>
        <pc:spChg chg="add mod">
          <ac:chgData name="Tzu-Yun Huang" userId="lS+ajudh2i5VXDkFktXKQ7oaF5t8cwF8tc4M5/f7XeE=" providerId="None" clId="Web-{A78CA733-932C-4D0D-9029-C993D74D768D}" dt="2025-04-23T04:04:57.906" v="568" actId="20577"/>
          <ac:spMkLst>
            <pc:docMk/>
            <pc:sldMk cId="1331725311" sldId="2147481226"/>
            <ac:spMk id="11" creationId="{82B92A1D-FEC0-E2F5-F602-E725A8AD071C}"/>
          </ac:spMkLst>
        </pc:spChg>
        <pc:spChg chg="add mod">
          <ac:chgData name="Tzu-Yun Huang" userId="lS+ajudh2i5VXDkFktXKQ7oaF5t8cwF8tc4M5/f7XeE=" providerId="None" clId="Web-{A78CA733-932C-4D0D-9029-C993D74D768D}" dt="2025-04-23T04:04:34.686" v="557" actId="1076"/>
          <ac:spMkLst>
            <pc:docMk/>
            <pc:sldMk cId="1331725311" sldId="2147481226"/>
            <ac:spMk id="13" creationId="{89DCF3E2-E17F-6EF0-28F5-6669D40F557F}"/>
          </ac:spMkLst>
        </pc:spChg>
        <pc:spChg chg="add mod">
          <ac:chgData name="Tzu-Yun Huang" userId="lS+ajudh2i5VXDkFktXKQ7oaF5t8cwF8tc4M5/f7XeE=" providerId="None" clId="Web-{A78CA733-932C-4D0D-9029-C993D74D768D}" dt="2025-04-23T04:04:41.593" v="560" actId="14100"/>
          <ac:spMkLst>
            <pc:docMk/>
            <pc:sldMk cId="1331725311" sldId="2147481226"/>
            <ac:spMk id="17" creationId="{2A1C4070-6E31-5054-CA46-328A5FB8484C}"/>
          </ac:spMkLst>
        </pc:spChg>
        <pc:spChg chg="mod">
          <ac:chgData name="Tzu-Yun Huang" userId="lS+ajudh2i5VXDkFktXKQ7oaF5t8cwF8tc4M5/f7XeE=" providerId="None" clId="Web-{A78CA733-932C-4D0D-9029-C993D74D768D}" dt="2025-04-23T04:01:16.098" v="338" actId="20577"/>
          <ac:spMkLst>
            <pc:docMk/>
            <pc:sldMk cId="1331725311" sldId="2147481226"/>
            <ac:spMk id="31" creationId="{B78F2FAD-ECD4-3C56-5BFD-2F428DD577D7}"/>
          </ac:spMkLst>
        </pc:spChg>
        <pc:spChg chg="mod">
          <ac:chgData name="Tzu-Yun Huang" userId="lS+ajudh2i5VXDkFktXKQ7oaF5t8cwF8tc4M5/f7XeE=" providerId="None" clId="Web-{A78CA733-932C-4D0D-9029-C993D74D768D}" dt="2025-04-23T04:02:00.443" v="406" actId="20577"/>
          <ac:spMkLst>
            <pc:docMk/>
            <pc:sldMk cId="1331725311" sldId="2147481226"/>
            <ac:spMk id="47" creationId="{FE87797B-C71A-3DE0-712D-D3CAB2BDF6A2}"/>
          </ac:spMkLst>
        </pc:spChg>
        <pc:spChg chg="mod">
          <ac:chgData name="Tzu-Yun Huang" userId="lS+ajudh2i5VXDkFktXKQ7oaF5t8cwF8tc4M5/f7XeE=" providerId="None" clId="Web-{A78CA733-932C-4D0D-9029-C993D74D768D}" dt="2025-04-23T04:02:23.475" v="425" actId="20577"/>
          <ac:spMkLst>
            <pc:docMk/>
            <pc:sldMk cId="1331725311" sldId="2147481226"/>
            <ac:spMk id="48" creationId="{47366A8D-BFC1-210B-5E69-206E60B21AE5}"/>
          </ac:spMkLst>
        </pc:spChg>
        <pc:spChg chg="mod">
          <ac:chgData name="Tzu-Yun Huang" userId="lS+ajudh2i5VXDkFktXKQ7oaF5t8cwF8tc4M5/f7XeE=" providerId="None" clId="Web-{A78CA733-932C-4D0D-9029-C993D74D768D}" dt="2025-04-23T04:02:53.195" v="481" actId="20577"/>
          <ac:spMkLst>
            <pc:docMk/>
            <pc:sldMk cId="1331725311" sldId="2147481226"/>
            <ac:spMk id="54" creationId="{56C52265-F83F-6D10-1BF3-183C0C6834EE}"/>
          </ac:spMkLst>
        </pc:spChg>
        <pc:spChg chg="mod">
          <ac:chgData name="Tzu-Yun Huang" userId="lS+ajudh2i5VXDkFktXKQ7oaF5t8cwF8tc4M5/f7XeE=" providerId="None" clId="Web-{A78CA733-932C-4D0D-9029-C993D74D768D}" dt="2025-04-23T04:02:43.929" v="463" actId="20577"/>
          <ac:spMkLst>
            <pc:docMk/>
            <pc:sldMk cId="1331725311" sldId="2147481226"/>
            <ac:spMk id="55" creationId="{9970B57F-8D97-623A-8B96-3E881FF747FC}"/>
          </ac:spMkLst>
        </pc:spChg>
        <pc:spChg chg="mod">
          <ac:chgData name="Tzu-Yun Huang" userId="lS+ajudh2i5VXDkFktXKQ7oaF5t8cwF8tc4M5/f7XeE=" providerId="None" clId="Web-{A78CA733-932C-4D0D-9029-C993D74D768D}" dt="2025-04-23T04:03:19.415" v="502" actId="20577"/>
          <ac:spMkLst>
            <pc:docMk/>
            <pc:sldMk cId="1331725311" sldId="2147481226"/>
            <ac:spMk id="56" creationId="{0F9D0939-08F1-681B-A09E-36CA045D4753}"/>
          </ac:spMkLst>
        </pc:spChg>
        <pc:spChg chg="mod">
          <ac:chgData name="Tzu-Yun Huang" userId="lS+ajudh2i5VXDkFktXKQ7oaF5t8cwF8tc4M5/f7XeE=" providerId="None" clId="Web-{A78CA733-932C-4D0D-9029-C993D74D768D}" dt="2025-04-23T04:03:39.072" v="523" actId="20577"/>
          <ac:spMkLst>
            <pc:docMk/>
            <pc:sldMk cId="1331725311" sldId="2147481226"/>
            <ac:spMk id="57" creationId="{5F098247-B714-CEF5-95DF-6FA1A2DCD7EB}"/>
          </ac:spMkLst>
        </pc:spChg>
        <pc:spChg chg="mod">
          <ac:chgData name="Tzu-Yun Huang" userId="lS+ajudh2i5VXDkFktXKQ7oaF5t8cwF8tc4M5/f7XeE=" providerId="None" clId="Web-{A78CA733-932C-4D0D-9029-C993D74D768D}" dt="2025-04-23T04:03:55.044" v="540" actId="20577"/>
          <ac:spMkLst>
            <pc:docMk/>
            <pc:sldMk cId="1331725311" sldId="2147481226"/>
            <ac:spMk id="58" creationId="{7E41298C-4A04-B1B5-63A3-B86C3AAA6ECC}"/>
          </ac:spMkLst>
        </pc:spChg>
        <pc:spChg chg="mod">
          <ac:chgData name="Tzu-Yun Huang" userId="lS+ajudh2i5VXDkFktXKQ7oaF5t8cwF8tc4M5/f7XeE=" providerId="None" clId="Web-{A78CA733-932C-4D0D-9029-C993D74D768D}" dt="2025-04-23T04:04:00.060" v="544" actId="20577"/>
          <ac:spMkLst>
            <pc:docMk/>
            <pc:sldMk cId="1331725311" sldId="2147481226"/>
            <ac:spMk id="59" creationId="{0F19973E-41FD-FD5E-E904-FE67E7658A88}"/>
          </ac:spMkLst>
        </pc:spChg>
        <pc:graphicFrameChg chg="mod modGraphic">
          <ac:chgData name="Tzu-Yun Huang" userId="lS+ajudh2i5VXDkFktXKQ7oaF5t8cwF8tc4M5/f7XeE=" providerId="None" clId="Web-{A78CA733-932C-4D0D-9029-C993D74D768D}" dt="2025-04-23T04:00:21.549" v="298"/>
          <ac:graphicFrameMkLst>
            <pc:docMk/>
            <pc:sldMk cId="1331725311" sldId="2147481226"/>
            <ac:graphicFrameMk id="14" creationId="{1FE5A9FF-9D51-8555-C00A-1FB3C72196A8}"/>
          </ac:graphicFrameMkLst>
        </pc:graphicFrameChg>
      </pc:sldChg>
      <pc:sldChg chg="del">
        <pc:chgData name="Tzu-Yun Huang" userId="lS+ajudh2i5VXDkFktXKQ7oaF5t8cwF8tc4M5/f7XeE=" providerId="None" clId="Web-{A78CA733-932C-4D0D-9029-C993D74D768D}" dt="2025-04-23T03:59:07.952" v="136"/>
        <pc:sldMkLst>
          <pc:docMk/>
          <pc:sldMk cId="2970990998" sldId="2147481231"/>
        </pc:sldMkLst>
      </pc:sldChg>
    </pc:docChg>
  </pc:docChgLst>
  <pc:docChgLst>
    <pc:chgData name="Aryan Rajeev Saxena" userId="PnUbZkmLnFVFnmvMQ4R/ham77TDBxweB7VS7+bxEl0U=" providerId="None" clId="Web-{8E1227E7-F840-4135-86D1-F1A51D973D72}"/>
    <pc:docChg chg="modSld">
      <pc:chgData name="Aryan Rajeev Saxena" userId="PnUbZkmLnFVFnmvMQ4R/ham77TDBxweB7VS7+bxEl0U=" providerId="None" clId="Web-{8E1227E7-F840-4135-86D1-F1A51D973D72}" dt="2025-04-24T03:16:21.526" v="22"/>
      <pc:docMkLst>
        <pc:docMk/>
      </pc:docMkLst>
      <pc:sldChg chg="addSp delSp modSp">
        <pc:chgData name="Aryan Rajeev Saxena" userId="PnUbZkmLnFVFnmvMQ4R/ham77TDBxweB7VS7+bxEl0U=" providerId="None" clId="Web-{8E1227E7-F840-4135-86D1-F1A51D973D72}" dt="2025-04-24T03:13:28.464" v="7" actId="1076"/>
        <pc:sldMkLst>
          <pc:docMk/>
          <pc:sldMk cId="1807012835" sldId="2147481202"/>
        </pc:sldMkLst>
        <pc:picChg chg="del">
          <ac:chgData name="Aryan Rajeev Saxena" userId="PnUbZkmLnFVFnmvMQ4R/ham77TDBxweB7VS7+bxEl0U=" providerId="None" clId="Web-{8E1227E7-F840-4135-86D1-F1A51D973D72}" dt="2025-04-24T03:12:22.479" v="2"/>
          <ac:picMkLst>
            <pc:docMk/>
            <pc:sldMk cId="1807012835" sldId="2147481202"/>
            <ac:picMk id="3" creationId="{59C26018-B1F4-BF62-9CCB-783A94CCD4C7}"/>
          </ac:picMkLst>
        </pc:picChg>
        <pc:picChg chg="add mod">
          <ac:chgData name="Aryan Rajeev Saxena" userId="PnUbZkmLnFVFnmvMQ4R/ham77TDBxweB7VS7+bxEl0U=" providerId="None" clId="Web-{8E1227E7-F840-4135-86D1-F1A51D973D72}" dt="2025-04-24T03:13:28.464" v="7" actId="1076"/>
          <ac:picMkLst>
            <pc:docMk/>
            <pc:sldMk cId="1807012835" sldId="2147481202"/>
            <ac:picMk id="5" creationId="{6DC1F78A-F2BF-BCF5-7964-565E882DC2EC}"/>
          </ac:picMkLst>
        </pc:picChg>
      </pc:sldChg>
      <pc:sldChg chg="addSp delSp modSp">
        <pc:chgData name="Aryan Rajeev Saxena" userId="PnUbZkmLnFVFnmvMQ4R/ham77TDBxweB7VS7+bxEl0U=" providerId="None" clId="Web-{8E1227E7-F840-4135-86D1-F1A51D973D72}" dt="2025-04-24T03:16:21.526" v="22"/>
        <pc:sldMkLst>
          <pc:docMk/>
          <pc:sldMk cId="1331725311" sldId="2147481226"/>
        </pc:sldMkLst>
        <pc:spChg chg="mod">
          <ac:chgData name="Aryan Rajeev Saxena" userId="PnUbZkmLnFVFnmvMQ4R/ham77TDBxweB7VS7+bxEl0U=" providerId="None" clId="Web-{8E1227E7-F840-4135-86D1-F1A51D973D72}" dt="2025-04-24T03:13:25.042" v="6" actId="1076"/>
          <ac:spMkLst>
            <pc:docMk/>
            <pc:sldMk cId="1331725311" sldId="2147481226"/>
            <ac:spMk id="6" creationId="{D2391B25-C911-C725-5138-E52CB45D2D53}"/>
          </ac:spMkLst>
        </pc:spChg>
        <pc:spChg chg="del">
          <ac:chgData name="Aryan Rajeev Saxena" userId="PnUbZkmLnFVFnmvMQ4R/ham77TDBxweB7VS7+bxEl0U=" providerId="None" clId="Web-{8E1227E7-F840-4135-86D1-F1A51D973D72}" dt="2025-04-24T03:15:54.229" v="12"/>
          <ac:spMkLst>
            <pc:docMk/>
            <pc:sldMk cId="1331725311" sldId="2147481226"/>
            <ac:spMk id="9" creationId="{14149784-BFAE-CF0B-48B3-B32CF1303F11}"/>
          </ac:spMkLst>
        </pc:spChg>
        <pc:spChg chg="del">
          <ac:chgData name="Aryan Rajeev Saxena" userId="PnUbZkmLnFVFnmvMQ4R/ham77TDBxweB7VS7+bxEl0U=" providerId="None" clId="Web-{8E1227E7-F840-4135-86D1-F1A51D973D72}" dt="2025-04-24T03:15:54.229" v="11"/>
          <ac:spMkLst>
            <pc:docMk/>
            <pc:sldMk cId="1331725311" sldId="2147481226"/>
            <ac:spMk id="11" creationId="{82B92A1D-FEC0-E2F5-F602-E725A8AD071C}"/>
          </ac:spMkLst>
        </pc:spChg>
        <pc:spChg chg="del">
          <ac:chgData name="Aryan Rajeev Saxena" userId="PnUbZkmLnFVFnmvMQ4R/ham77TDBxweB7VS7+bxEl0U=" providerId="None" clId="Web-{8E1227E7-F840-4135-86D1-F1A51D973D72}" dt="2025-04-24T03:15:54.229" v="10"/>
          <ac:spMkLst>
            <pc:docMk/>
            <pc:sldMk cId="1331725311" sldId="2147481226"/>
            <ac:spMk id="13" creationId="{89DCF3E2-E17F-6EF0-28F5-6669D40F557F}"/>
          </ac:spMkLst>
        </pc:spChg>
        <pc:spChg chg="del">
          <ac:chgData name="Aryan Rajeev Saxena" userId="PnUbZkmLnFVFnmvMQ4R/ham77TDBxweB7VS7+bxEl0U=" providerId="None" clId="Web-{8E1227E7-F840-4135-86D1-F1A51D973D72}" dt="2025-04-24T03:15:54.229" v="9"/>
          <ac:spMkLst>
            <pc:docMk/>
            <pc:sldMk cId="1331725311" sldId="2147481226"/>
            <ac:spMk id="17" creationId="{2A1C4070-6E31-5054-CA46-328A5FB8484C}"/>
          </ac:spMkLst>
        </pc:spChg>
        <pc:picChg chg="add mod modCrop">
          <ac:chgData name="Aryan Rajeev Saxena" userId="PnUbZkmLnFVFnmvMQ4R/ham77TDBxweB7VS7+bxEl0U=" providerId="None" clId="Web-{8E1227E7-F840-4135-86D1-F1A51D973D72}" dt="2025-04-24T03:16:21.526" v="22"/>
          <ac:picMkLst>
            <pc:docMk/>
            <pc:sldMk cId="1331725311" sldId="2147481226"/>
            <ac:picMk id="8" creationId="{AAA78869-201D-B981-96B4-67F2B0CA795E}"/>
          </ac:picMkLst>
        </pc:picChg>
        <pc:picChg chg="del">
          <ac:chgData name="Aryan Rajeev Saxena" userId="PnUbZkmLnFVFnmvMQ4R/ham77TDBxweB7VS7+bxEl0U=" providerId="None" clId="Web-{8E1227E7-F840-4135-86D1-F1A51D973D72}" dt="2025-04-24T03:15:51.401" v="8"/>
          <ac:picMkLst>
            <pc:docMk/>
            <pc:sldMk cId="1331725311" sldId="2147481226"/>
            <ac:picMk id="46" creationId="{A9E90A46-F22B-1550-C796-023D67F38744}"/>
          </ac:picMkLst>
        </pc:picChg>
      </pc:sldChg>
    </pc:docChg>
  </pc:docChgLst>
  <pc:docChgLst>
    <pc:chgData name="Qi Su" userId="X9KnOhCFnWyTH3kyygiljiWO0QEy1sfYY+jR+faloQY=" providerId="None" clId="Web-{1EEBDF5A-B547-4334-8445-AD9A95FADCEF}"/>
    <pc:docChg chg="modSld">
      <pc:chgData name="Qi Su" userId="X9KnOhCFnWyTH3kyygiljiWO0QEy1sfYY+jR+faloQY=" providerId="None" clId="Web-{1EEBDF5A-B547-4334-8445-AD9A95FADCEF}" dt="2025-04-24T04:28:56.733" v="474"/>
      <pc:docMkLst>
        <pc:docMk/>
      </pc:docMkLst>
      <pc:sldChg chg="modSp">
        <pc:chgData name="Qi Su" userId="X9KnOhCFnWyTH3kyygiljiWO0QEy1sfYY+jR+faloQY=" providerId="None" clId="Web-{1EEBDF5A-B547-4334-8445-AD9A95FADCEF}" dt="2025-04-24T03:47:35.698" v="123" actId="20577"/>
        <pc:sldMkLst>
          <pc:docMk/>
          <pc:sldMk cId="3264775900" sldId="258"/>
        </pc:sldMkLst>
        <pc:spChg chg="mod">
          <ac:chgData name="Qi Su" userId="X9KnOhCFnWyTH3kyygiljiWO0QEy1sfYY+jR+faloQY=" providerId="None" clId="Web-{1EEBDF5A-B547-4334-8445-AD9A95FADCEF}" dt="2025-04-24T03:47:35.698" v="123" actId="20577"/>
          <ac:spMkLst>
            <pc:docMk/>
            <pc:sldMk cId="3264775900" sldId="258"/>
            <ac:spMk id="66" creationId="{62E0CDAA-9729-68BB-B900-7CF61C051251}"/>
          </ac:spMkLst>
        </pc:spChg>
        <pc:spChg chg="mod">
          <ac:chgData name="Qi Su" userId="X9KnOhCFnWyTH3kyygiljiWO0QEy1sfYY+jR+faloQY=" providerId="None" clId="Web-{1EEBDF5A-B547-4334-8445-AD9A95FADCEF}" dt="2025-04-24T03:47:05.197" v="116" actId="20577"/>
          <ac:spMkLst>
            <pc:docMk/>
            <pc:sldMk cId="3264775900" sldId="258"/>
            <ac:spMk id="69" creationId="{56AAE20A-B772-AEA9-235F-FCE7FC60175A}"/>
          </ac:spMkLst>
        </pc:spChg>
      </pc:sldChg>
      <pc:sldChg chg="modSp">
        <pc:chgData name="Qi Su" userId="X9KnOhCFnWyTH3kyygiljiWO0QEy1sfYY+jR+faloQY=" providerId="None" clId="Web-{1EEBDF5A-B547-4334-8445-AD9A95FADCEF}" dt="2025-04-24T04:15:20.313" v="380"/>
        <pc:sldMkLst>
          <pc:docMk/>
          <pc:sldMk cId="751887875" sldId="260"/>
        </pc:sldMkLst>
        <pc:graphicFrameChg chg="mod modGraphic">
          <ac:chgData name="Qi Su" userId="X9KnOhCFnWyTH3kyygiljiWO0QEy1sfYY+jR+faloQY=" providerId="None" clId="Web-{1EEBDF5A-B547-4334-8445-AD9A95FADCEF}" dt="2025-04-24T04:15:20.313" v="380"/>
          <ac:graphicFrameMkLst>
            <pc:docMk/>
            <pc:sldMk cId="751887875" sldId="260"/>
            <ac:graphicFrameMk id="16" creationId="{420C2625-11A4-8D10-C1FC-EB62F2374FE9}"/>
          </ac:graphicFrameMkLst>
        </pc:graphicFrameChg>
      </pc:sldChg>
      <pc:sldChg chg="modSp">
        <pc:chgData name="Qi Su" userId="X9KnOhCFnWyTH3kyygiljiWO0QEy1sfYY+jR+faloQY=" providerId="None" clId="Web-{1EEBDF5A-B547-4334-8445-AD9A95FADCEF}" dt="2025-04-24T03:51:07.455" v="151"/>
        <pc:sldMkLst>
          <pc:docMk/>
          <pc:sldMk cId="2544543080" sldId="262"/>
        </pc:sldMkLst>
        <pc:graphicFrameChg chg="mod modGraphic">
          <ac:chgData name="Qi Su" userId="X9KnOhCFnWyTH3kyygiljiWO0QEy1sfYY+jR+faloQY=" providerId="None" clId="Web-{1EEBDF5A-B547-4334-8445-AD9A95FADCEF}" dt="2025-04-24T03:51:07.455" v="151"/>
          <ac:graphicFrameMkLst>
            <pc:docMk/>
            <pc:sldMk cId="2544543080" sldId="262"/>
            <ac:graphicFrameMk id="8" creationId="{73DA9BFE-4BE0-97C8-1F66-463E3EF213DB}"/>
          </ac:graphicFrameMkLst>
        </pc:graphicFrameChg>
      </pc:sldChg>
      <pc:sldChg chg="modSp">
        <pc:chgData name="Qi Su" userId="X9KnOhCFnWyTH3kyygiljiWO0QEy1sfYY+jR+faloQY=" providerId="None" clId="Web-{1EEBDF5A-B547-4334-8445-AD9A95FADCEF}" dt="2025-04-24T04:16:45.691" v="431" actId="20577"/>
        <pc:sldMkLst>
          <pc:docMk/>
          <pc:sldMk cId="2462915399" sldId="263"/>
        </pc:sldMkLst>
        <pc:spChg chg="mod">
          <ac:chgData name="Qi Su" userId="X9KnOhCFnWyTH3kyygiljiWO0QEy1sfYY+jR+faloQY=" providerId="None" clId="Web-{1EEBDF5A-B547-4334-8445-AD9A95FADCEF}" dt="2025-04-24T04:15:47.095" v="385" actId="20577"/>
          <ac:spMkLst>
            <pc:docMk/>
            <pc:sldMk cId="2462915399" sldId="263"/>
            <ac:spMk id="2" creationId="{C9C8448E-3ADC-C0D2-0F26-9069E945D200}"/>
          </ac:spMkLst>
        </pc:spChg>
        <pc:spChg chg="mod">
          <ac:chgData name="Qi Su" userId="X9KnOhCFnWyTH3kyygiljiWO0QEy1sfYY+jR+faloQY=" providerId="None" clId="Web-{1EEBDF5A-B547-4334-8445-AD9A95FADCEF}" dt="2025-04-24T04:16:00.986" v="402" actId="20577"/>
          <ac:spMkLst>
            <pc:docMk/>
            <pc:sldMk cId="2462915399" sldId="263"/>
            <ac:spMk id="13" creationId="{AA95A3D4-4007-2568-49D6-F4A08733B5D8}"/>
          </ac:spMkLst>
        </pc:spChg>
        <pc:spChg chg="mod">
          <ac:chgData name="Qi Su" userId="X9KnOhCFnWyTH3kyygiljiWO0QEy1sfYY+jR+faloQY=" providerId="None" clId="Web-{1EEBDF5A-B547-4334-8445-AD9A95FADCEF}" dt="2025-04-24T04:16:16.549" v="409" actId="20577"/>
          <ac:spMkLst>
            <pc:docMk/>
            <pc:sldMk cId="2462915399" sldId="263"/>
            <ac:spMk id="19" creationId="{F834F501-58CB-B35C-243B-2A01100E82A2}"/>
          </ac:spMkLst>
        </pc:spChg>
        <pc:spChg chg="mod">
          <ac:chgData name="Qi Su" userId="X9KnOhCFnWyTH3kyygiljiWO0QEy1sfYY+jR+faloQY=" providerId="None" clId="Web-{1EEBDF5A-B547-4334-8445-AD9A95FADCEF}" dt="2025-04-24T03:53:42.930" v="167" actId="20577"/>
          <ac:spMkLst>
            <pc:docMk/>
            <pc:sldMk cId="2462915399" sldId="263"/>
            <ac:spMk id="108" creationId="{358EA4B0-C7E2-E64E-EB55-45C2AAFF1D63}"/>
          </ac:spMkLst>
        </pc:spChg>
        <pc:spChg chg="mod">
          <ac:chgData name="Qi Su" userId="X9KnOhCFnWyTH3kyygiljiWO0QEy1sfYY+jR+faloQY=" providerId="None" clId="Web-{1EEBDF5A-B547-4334-8445-AD9A95FADCEF}" dt="2025-04-24T04:16:22.237" v="415" actId="20577"/>
          <ac:spMkLst>
            <pc:docMk/>
            <pc:sldMk cId="2462915399" sldId="263"/>
            <ac:spMk id="130" creationId="{BA6AB4B1-7789-CE46-95B2-2777D779360B}"/>
          </ac:spMkLst>
        </pc:spChg>
        <pc:spChg chg="mod">
          <ac:chgData name="Qi Su" userId="X9KnOhCFnWyTH3kyygiljiWO0QEy1sfYY+jR+faloQY=" providerId="None" clId="Web-{1EEBDF5A-B547-4334-8445-AD9A95FADCEF}" dt="2025-04-24T04:16:33.284" v="422" actId="20577"/>
          <ac:spMkLst>
            <pc:docMk/>
            <pc:sldMk cId="2462915399" sldId="263"/>
            <ac:spMk id="246" creationId="{BA6AB4B1-7789-CE46-95B2-2777D779360B}"/>
          </ac:spMkLst>
        </pc:spChg>
        <pc:spChg chg="mod">
          <ac:chgData name="Qi Su" userId="X9KnOhCFnWyTH3kyygiljiWO0QEy1sfYY+jR+faloQY=" providerId="None" clId="Web-{1EEBDF5A-B547-4334-8445-AD9A95FADCEF}" dt="2025-04-24T04:16:45.691" v="431" actId="20577"/>
          <ac:spMkLst>
            <pc:docMk/>
            <pc:sldMk cId="2462915399" sldId="263"/>
            <ac:spMk id="311" creationId="{74A2BE8C-897F-8059-1E90-306E0AA79F10}"/>
          </ac:spMkLst>
        </pc:spChg>
      </pc:sldChg>
      <pc:sldChg chg="addSp delSp modSp">
        <pc:chgData name="Qi Su" userId="X9KnOhCFnWyTH3kyygiljiWO0QEy1sfYY+jR+faloQY=" providerId="None" clId="Web-{1EEBDF5A-B547-4334-8445-AD9A95FADCEF}" dt="2025-04-24T04:07:35.140" v="221" actId="20577"/>
        <pc:sldMkLst>
          <pc:docMk/>
          <pc:sldMk cId="1953955228" sldId="2147481152"/>
        </pc:sldMkLst>
        <pc:spChg chg="topLvl">
          <ac:chgData name="Qi Su" userId="X9KnOhCFnWyTH3kyygiljiWO0QEy1sfYY+jR+faloQY=" providerId="None" clId="Web-{1EEBDF5A-B547-4334-8445-AD9A95FADCEF}" dt="2025-04-24T04:06:53.920" v="214"/>
          <ac:spMkLst>
            <pc:docMk/>
            <pc:sldMk cId="1953955228" sldId="2147481152"/>
            <ac:spMk id="12" creationId="{9682DF51-39D4-B78C-643E-42B69D8EE203}"/>
          </ac:spMkLst>
        </pc:spChg>
        <pc:spChg chg="mod">
          <ac:chgData name="Qi Su" userId="X9KnOhCFnWyTH3kyygiljiWO0QEy1sfYY+jR+faloQY=" providerId="None" clId="Web-{1EEBDF5A-B547-4334-8445-AD9A95FADCEF}" dt="2025-04-24T04:07:35.140" v="221" actId="20577"/>
          <ac:spMkLst>
            <pc:docMk/>
            <pc:sldMk cId="1953955228" sldId="2147481152"/>
            <ac:spMk id="15" creationId="{E2F36012-30E5-2413-F5DA-EB9697A14F90}"/>
          </ac:spMkLst>
        </pc:spChg>
        <pc:spChg chg="mod topLvl">
          <ac:chgData name="Qi Su" userId="X9KnOhCFnWyTH3kyygiljiWO0QEy1sfYY+jR+faloQY=" providerId="None" clId="Web-{1EEBDF5A-B547-4334-8445-AD9A95FADCEF}" dt="2025-04-24T04:07:23.780" v="220" actId="20577"/>
          <ac:spMkLst>
            <pc:docMk/>
            <pc:sldMk cId="1953955228" sldId="2147481152"/>
            <ac:spMk id="22" creationId="{C5477101-5345-6DB4-D17C-C414DE71CECA}"/>
          </ac:spMkLst>
        </pc:spChg>
        <pc:grpChg chg="del">
          <ac:chgData name="Qi Su" userId="X9KnOhCFnWyTH3kyygiljiWO0QEy1sfYY+jR+faloQY=" providerId="None" clId="Web-{1EEBDF5A-B547-4334-8445-AD9A95FADCEF}" dt="2025-04-24T04:07:01.185" v="217"/>
          <ac:grpSpMkLst>
            <pc:docMk/>
            <pc:sldMk cId="1953955228" sldId="2147481152"/>
            <ac:grpSpMk id="3" creationId="{9DF4EB19-A323-A9E5-B0B7-5680FC8C3E75}"/>
          </ac:grpSpMkLst>
        </pc:grpChg>
        <pc:grpChg chg="del">
          <ac:chgData name="Qi Su" userId="X9KnOhCFnWyTH3kyygiljiWO0QEy1sfYY+jR+faloQY=" providerId="None" clId="Web-{1EEBDF5A-B547-4334-8445-AD9A95FADCEF}" dt="2025-04-24T04:06:53.920" v="214"/>
          <ac:grpSpMkLst>
            <pc:docMk/>
            <pc:sldMk cId="1953955228" sldId="2147481152"/>
            <ac:grpSpMk id="5" creationId="{62781512-DCFD-3EC5-C025-0779F7745BA8}"/>
          </ac:grpSpMkLst>
        </pc:grpChg>
        <pc:picChg chg="del topLvl">
          <ac:chgData name="Qi Su" userId="X9KnOhCFnWyTH3kyygiljiWO0QEy1sfYY+jR+faloQY=" providerId="None" clId="Web-{1EEBDF5A-B547-4334-8445-AD9A95FADCEF}" dt="2025-04-24T04:06:53.920" v="214"/>
          <ac:picMkLst>
            <pc:docMk/>
            <pc:sldMk cId="1953955228" sldId="2147481152"/>
            <ac:picMk id="11" creationId="{8B947EBB-BA8B-6162-45EA-7FE31EBCE2CC}"/>
          </ac:picMkLst>
        </pc:picChg>
        <pc:picChg chg="add mod">
          <ac:chgData name="Qi Su" userId="X9KnOhCFnWyTH3kyygiljiWO0QEy1sfYY+jR+faloQY=" providerId="None" clId="Web-{1EEBDF5A-B547-4334-8445-AD9A95FADCEF}" dt="2025-04-24T04:06:58.842" v="216" actId="1076"/>
          <ac:picMkLst>
            <pc:docMk/>
            <pc:sldMk cId="1953955228" sldId="2147481152"/>
            <ac:picMk id="13" creationId="{1DD200F3-FA78-2D8D-90A4-50C5394D36F9}"/>
          </ac:picMkLst>
        </pc:picChg>
        <pc:picChg chg="del topLvl">
          <ac:chgData name="Qi Su" userId="X9KnOhCFnWyTH3kyygiljiWO0QEy1sfYY+jR+faloQY=" providerId="None" clId="Web-{1EEBDF5A-B547-4334-8445-AD9A95FADCEF}" dt="2025-04-24T04:07:01.185" v="217"/>
          <ac:picMkLst>
            <pc:docMk/>
            <pc:sldMk cId="1953955228" sldId="2147481152"/>
            <ac:picMk id="21" creationId="{FCE654A3-CFCA-6C47-6E81-823B695540A9}"/>
          </ac:picMkLst>
        </pc:picChg>
        <pc:picChg chg="add mod">
          <ac:chgData name="Qi Su" userId="X9KnOhCFnWyTH3kyygiljiWO0QEy1sfYY+jR+faloQY=" providerId="None" clId="Web-{1EEBDF5A-B547-4334-8445-AD9A95FADCEF}" dt="2025-04-24T04:07:08.561" v="219" actId="1076"/>
          <ac:picMkLst>
            <pc:docMk/>
            <pc:sldMk cId="1953955228" sldId="2147481152"/>
            <ac:picMk id="24" creationId="{18BC31A0-1FB8-0163-F780-CDDF6F3C2AAF}"/>
          </ac:picMkLst>
        </pc:picChg>
      </pc:sldChg>
      <pc:sldChg chg="modSp">
        <pc:chgData name="Qi Su" userId="X9KnOhCFnWyTH3kyygiljiWO0QEy1sfYY+jR+faloQY=" providerId="None" clId="Web-{1EEBDF5A-B547-4334-8445-AD9A95FADCEF}" dt="2025-04-24T04:28:56.733" v="474"/>
        <pc:sldMkLst>
          <pc:docMk/>
          <pc:sldMk cId="2127318311" sldId="2147481210"/>
        </pc:sldMkLst>
        <pc:graphicFrameChg chg="mod modGraphic">
          <ac:chgData name="Qi Su" userId="X9KnOhCFnWyTH3kyygiljiWO0QEy1sfYY+jR+faloQY=" providerId="None" clId="Web-{1EEBDF5A-B547-4334-8445-AD9A95FADCEF}" dt="2025-04-24T04:28:56.733" v="474"/>
          <ac:graphicFrameMkLst>
            <pc:docMk/>
            <pc:sldMk cId="2127318311" sldId="2147481210"/>
            <ac:graphicFrameMk id="4" creationId="{576169B1-44DC-EDD9-BAB2-34C92990FADD}"/>
          </ac:graphicFrameMkLst>
        </pc:graphicFrameChg>
      </pc:sldChg>
      <pc:sldChg chg="modSp">
        <pc:chgData name="Qi Su" userId="X9KnOhCFnWyTH3kyygiljiWO0QEy1sfYY+jR+faloQY=" providerId="None" clId="Web-{1EEBDF5A-B547-4334-8445-AD9A95FADCEF}" dt="2025-04-24T04:12:48.885" v="349" actId="20577"/>
        <pc:sldMkLst>
          <pc:docMk/>
          <pc:sldMk cId="2379717830" sldId="2147481225"/>
        </pc:sldMkLst>
        <pc:spChg chg="mod">
          <ac:chgData name="Qi Su" userId="X9KnOhCFnWyTH3kyygiljiWO0QEy1sfYY+jR+faloQY=" providerId="None" clId="Web-{1EEBDF5A-B547-4334-8445-AD9A95FADCEF}" dt="2025-04-24T04:12:48.885" v="349" actId="20577"/>
          <ac:spMkLst>
            <pc:docMk/>
            <pc:sldMk cId="2379717830" sldId="2147481225"/>
            <ac:spMk id="23" creationId="{1EB7EEA6-F9FD-258B-44D0-5532FA39CE16}"/>
          </ac:spMkLst>
        </pc:spChg>
        <pc:graphicFrameChg chg="mod modGraphic">
          <ac:chgData name="Qi Su" userId="X9KnOhCFnWyTH3kyygiljiWO0QEy1sfYY+jR+faloQY=" providerId="None" clId="Web-{1EEBDF5A-B547-4334-8445-AD9A95FADCEF}" dt="2025-04-24T04:12:38.057" v="345"/>
          <ac:graphicFrameMkLst>
            <pc:docMk/>
            <pc:sldMk cId="2379717830" sldId="2147481225"/>
            <ac:graphicFrameMk id="4" creationId="{33750E14-E657-8526-DC95-3C486AB3D57E}"/>
          </ac:graphicFrameMkLst>
        </pc:graphicFrameChg>
      </pc:sldChg>
      <pc:sldChg chg="modSp">
        <pc:chgData name="Qi Su" userId="X9KnOhCFnWyTH3kyygiljiWO0QEy1sfYY+jR+faloQY=" providerId="None" clId="Web-{1EEBDF5A-B547-4334-8445-AD9A95FADCEF}" dt="2025-04-24T04:18:56.336" v="456" actId="20577"/>
        <pc:sldMkLst>
          <pc:docMk/>
          <pc:sldMk cId="1331725311" sldId="2147481226"/>
        </pc:sldMkLst>
        <pc:spChg chg="mod">
          <ac:chgData name="Qi Su" userId="X9KnOhCFnWyTH3kyygiljiWO0QEy1sfYY+jR+faloQY=" providerId="None" clId="Web-{1EEBDF5A-B547-4334-8445-AD9A95FADCEF}" dt="2025-04-24T04:18:44.101" v="443" actId="20577"/>
          <ac:spMkLst>
            <pc:docMk/>
            <pc:sldMk cId="1331725311" sldId="2147481226"/>
            <ac:spMk id="47" creationId="{FE87797B-C71A-3DE0-712D-D3CAB2BDF6A2}"/>
          </ac:spMkLst>
        </pc:spChg>
        <pc:spChg chg="mod">
          <ac:chgData name="Qi Su" userId="X9KnOhCFnWyTH3kyygiljiWO0QEy1sfYY+jR+faloQY=" providerId="None" clId="Web-{1EEBDF5A-B547-4334-8445-AD9A95FADCEF}" dt="2025-04-24T04:10:26.490" v="276" actId="20577"/>
          <ac:spMkLst>
            <pc:docMk/>
            <pc:sldMk cId="1331725311" sldId="2147481226"/>
            <ac:spMk id="48" creationId="{47366A8D-BFC1-210B-5E69-206E60B21AE5}"/>
          </ac:spMkLst>
        </pc:spChg>
        <pc:spChg chg="mod">
          <ac:chgData name="Qi Su" userId="X9KnOhCFnWyTH3kyygiljiWO0QEy1sfYY+jR+faloQY=" providerId="None" clId="Web-{1EEBDF5A-B547-4334-8445-AD9A95FADCEF}" dt="2025-04-24T04:10:38.115" v="283" actId="20577"/>
          <ac:spMkLst>
            <pc:docMk/>
            <pc:sldMk cId="1331725311" sldId="2147481226"/>
            <ac:spMk id="54" creationId="{56C52265-F83F-6D10-1BF3-183C0C6834EE}"/>
          </ac:spMkLst>
        </pc:spChg>
        <pc:spChg chg="mod">
          <ac:chgData name="Qi Su" userId="X9KnOhCFnWyTH3kyygiljiWO0QEy1sfYY+jR+faloQY=" providerId="None" clId="Web-{1EEBDF5A-B547-4334-8445-AD9A95FADCEF}" dt="2025-04-24T04:18:50.570" v="454" actId="20577"/>
          <ac:spMkLst>
            <pc:docMk/>
            <pc:sldMk cId="1331725311" sldId="2147481226"/>
            <ac:spMk id="55" creationId="{9970B57F-8D97-623A-8B96-3E881FF747FC}"/>
          </ac:spMkLst>
        </pc:spChg>
        <pc:spChg chg="mod">
          <ac:chgData name="Qi Su" userId="X9KnOhCFnWyTH3kyygiljiWO0QEy1sfYY+jR+faloQY=" providerId="None" clId="Web-{1EEBDF5A-B547-4334-8445-AD9A95FADCEF}" dt="2025-04-24T04:11:04.429" v="302" actId="20577"/>
          <ac:spMkLst>
            <pc:docMk/>
            <pc:sldMk cId="1331725311" sldId="2147481226"/>
            <ac:spMk id="56" creationId="{0F9D0939-08F1-681B-A09E-36CA045D4753}"/>
          </ac:spMkLst>
        </pc:spChg>
        <pc:spChg chg="mod">
          <ac:chgData name="Qi Su" userId="X9KnOhCFnWyTH3kyygiljiWO0QEy1sfYY+jR+faloQY=" providerId="None" clId="Web-{1EEBDF5A-B547-4334-8445-AD9A95FADCEF}" dt="2025-04-24T04:11:26.539" v="309" actId="20577"/>
          <ac:spMkLst>
            <pc:docMk/>
            <pc:sldMk cId="1331725311" sldId="2147481226"/>
            <ac:spMk id="57" creationId="{5F098247-B714-CEF5-95DF-6FA1A2DCD7EB}"/>
          </ac:spMkLst>
        </pc:spChg>
        <pc:spChg chg="mod">
          <ac:chgData name="Qi Su" userId="X9KnOhCFnWyTH3kyygiljiWO0QEy1sfYY+jR+faloQY=" providerId="None" clId="Web-{1EEBDF5A-B547-4334-8445-AD9A95FADCEF}" dt="2025-04-24T04:18:56.336" v="456" actId="20577"/>
          <ac:spMkLst>
            <pc:docMk/>
            <pc:sldMk cId="1331725311" sldId="2147481226"/>
            <ac:spMk id="58" creationId="{7E41298C-4A04-B1B5-63A3-B86C3AAA6ECC}"/>
          </ac:spMkLst>
        </pc:spChg>
        <pc:spChg chg="mod">
          <ac:chgData name="Qi Su" userId="X9KnOhCFnWyTH3kyygiljiWO0QEy1sfYY+jR+faloQY=" providerId="None" clId="Web-{1EEBDF5A-B547-4334-8445-AD9A95FADCEF}" dt="2025-04-24T04:11:46.133" v="322" actId="20577"/>
          <ac:spMkLst>
            <pc:docMk/>
            <pc:sldMk cId="1331725311" sldId="2147481226"/>
            <ac:spMk id="59" creationId="{0F19973E-41FD-FD5E-E904-FE67E7658A88}"/>
          </ac:spMkLst>
        </pc:spChg>
      </pc:sldChg>
      <pc:sldChg chg="modSp">
        <pc:chgData name="Qi Su" userId="X9KnOhCFnWyTH3kyygiljiWO0QEy1sfYY+jR+faloQY=" providerId="None" clId="Web-{1EEBDF5A-B547-4334-8445-AD9A95FADCEF}" dt="2025-04-24T04:19:20.790" v="464" actId="20577"/>
        <pc:sldMkLst>
          <pc:docMk/>
          <pc:sldMk cId="1260691043" sldId="2147481234"/>
        </pc:sldMkLst>
        <pc:spChg chg="mod">
          <ac:chgData name="Qi Su" userId="X9KnOhCFnWyTH3kyygiljiWO0QEy1sfYY+jR+faloQY=" providerId="None" clId="Web-{1EEBDF5A-B547-4334-8445-AD9A95FADCEF}" dt="2025-04-24T04:19:20.790" v="464" actId="20577"/>
          <ac:spMkLst>
            <pc:docMk/>
            <pc:sldMk cId="1260691043" sldId="2147481234"/>
            <ac:spMk id="49" creationId="{3C2DF3B8-CD4B-A5DB-2D01-9C393DEDD33B}"/>
          </ac:spMkLst>
        </pc:spChg>
      </pc:sldChg>
      <pc:sldChg chg="addSp delSp modSp">
        <pc:chgData name="Qi Su" userId="X9KnOhCFnWyTH3kyygiljiWO0QEy1sfYY+jR+faloQY=" providerId="None" clId="Web-{1EEBDF5A-B547-4334-8445-AD9A95FADCEF}" dt="2025-04-24T04:03:48.522" v="201" actId="20577"/>
        <pc:sldMkLst>
          <pc:docMk/>
          <pc:sldMk cId="1554780551" sldId="2147481242"/>
        </pc:sldMkLst>
        <pc:spChg chg="mod">
          <ac:chgData name="Qi Su" userId="X9KnOhCFnWyTH3kyygiljiWO0QEy1sfYY+jR+faloQY=" providerId="None" clId="Web-{1EEBDF5A-B547-4334-8445-AD9A95FADCEF}" dt="2025-04-24T03:58:02.666" v="187" actId="20577"/>
          <ac:spMkLst>
            <pc:docMk/>
            <pc:sldMk cId="1554780551" sldId="2147481242"/>
            <ac:spMk id="40" creationId="{A4A54BAD-65B6-7190-EDB0-0D69A4BFCB8A}"/>
          </ac:spMkLst>
        </pc:spChg>
        <pc:spChg chg="add del mod">
          <ac:chgData name="Qi Su" userId="X9KnOhCFnWyTH3kyygiljiWO0QEy1sfYY+jR+faloQY=" providerId="None" clId="Web-{1EEBDF5A-B547-4334-8445-AD9A95FADCEF}" dt="2025-04-24T04:03:33.022" v="192" actId="20577"/>
          <ac:spMkLst>
            <pc:docMk/>
            <pc:sldMk cId="1554780551" sldId="2147481242"/>
            <ac:spMk id="144" creationId="{E1C1D801-8F12-0A2E-B835-5FD83ED5FA71}"/>
          </ac:spMkLst>
        </pc:spChg>
        <pc:spChg chg="add del mod">
          <ac:chgData name="Qi Su" userId="X9KnOhCFnWyTH3kyygiljiWO0QEy1sfYY+jR+faloQY=" providerId="None" clId="Web-{1EEBDF5A-B547-4334-8445-AD9A95FADCEF}" dt="2025-04-24T04:03:48.522" v="201" actId="20577"/>
          <ac:spMkLst>
            <pc:docMk/>
            <pc:sldMk cId="1554780551" sldId="2147481242"/>
            <ac:spMk id="145" creationId="{FD81866D-41B3-9FF7-5D43-42D027E69426}"/>
          </ac:spMkLst>
        </pc:spChg>
        <pc:graphicFrameChg chg="mod modGraphic">
          <ac:chgData name="Qi Su" userId="X9KnOhCFnWyTH3kyygiljiWO0QEy1sfYY+jR+faloQY=" providerId="None" clId="Web-{1EEBDF5A-B547-4334-8445-AD9A95FADCEF}" dt="2025-04-24T03:56:08.052" v="185"/>
          <ac:graphicFrameMkLst>
            <pc:docMk/>
            <pc:sldMk cId="1554780551" sldId="2147481242"/>
            <ac:graphicFrameMk id="27" creationId="{AF341A7F-113D-94AC-D3F9-C6F7B22BE586}"/>
          </ac:graphicFrameMkLst>
        </pc:graphicFrameChg>
      </pc:sldChg>
      <pc:sldChg chg="modSp">
        <pc:chgData name="Qi Su" userId="X9KnOhCFnWyTH3kyygiljiWO0QEy1sfYY+jR+faloQY=" providerId="None" clId="Web-{1EEBDF5A-B547-4334-8445-AD9A95FADCEF}" dt="2025-04-24T04:06:13.106" v="213" actId="20577"/>
        <pc:sldMkLst>
          <pc:docMk/>
          <pc:sldMk cId="2198302553" sldId="2147481251"/>
        </pc:sldMkLst>
        <pc:spChg chg="mod">
          <ac:chgData name="Qi Su" userId="X9KnOhCFnWyTH3kyygiljiWO0QEy1sfYY+jR+faloQY=" providerId="None" clId="Web-{1EEBDF5A-B547-4334-8445-AD9A95FADCEF}" dt="2025-04-24T04:06:01.949" v="205" actId="20577"/>
          <ac:spMkLst>
            <pc:docMk/>
            <pc:sldMk cId="2198302553" sldId="2147481251"/>
            <ac:spMk id="21" creationId="{15F5944F-F9C4-A077-F4D4-1AD6D70C5CF1}"/>
          </ac:spMkLst>
        </pc:spChg>
        <pc:spChg chg="mod">
          <ac:chgData name="Qi Su" userId="X9KnOhCFnWyTH3kyygiljiWO0QEy1sfYY+jR+faloQY=" providerId="None" clId="Web-{1EEBDF5A-B547-4334-8445-AD9A95FADCEF}" dt="2025-04-24T04:06:13.106" v="213" actId="20577"/>
          <ac:spMkLst>
            <pc:docMk/>
            <pc:sldMk cId="2198302553" sldId="2147481251"/>
            <ac:spMk id="22" creationId="{1E8D2620-3F62-597A-7827-EF4F0CB7A22A}"/>
          </ac:spMkLst>
        </pc:spChg>
      </pc:sldChg>
      <pc:sldChg chg="modSp">
        <pc:chgData name="Qi Su" userId="X9KnOhCFnWyTH3kyygiljiWO0QEy1sfYY+jR+faloQY=" providerId="None" clId="Web-{1EEBDF5A-B547-4334-8445-AD9A95FADCEF}" dt="2025-04-24T04:15:12.422" v="372" actId="20577"/>
        <pc:sldMkLst>
          <pc:docMk/>
          <pc:sldMk cId="758295195" sldId="2147481253"/>
        </pc:sldMkLst>
        <pc:spChg chg="mod">
          <ac:chgData name="Qi Su" userId="X9KnOhCFnWyTH3kyygiljiWO0QEy1sfYY+jR+faloQY=" providerId="None" clId="Web-{1EEBDF5A-B547-4334-8445-AD9A95FADCEF}" dt="2025-04-24T04:15:02.562" v="366" actId="20577"/>
          <ac:spMkLst>
            <pc:docMk/>
            <pc:sldMk cId="758295195" sldId="2147481253"/>
            <ac:spMk id="15" creationId="{DDB57D14-33A4-D5E8-EF63-621E6E8B8C12}"/>
          </ac:spMkLst>
        </pc:spChg>
        <pc:spChg chg="mod">
          <ac:chgData name="Qi Su" userId="X9KnOhCFnWyTH3kyygiljiWO0QEy1sfYY+jR+faloQY=" providerId="None" clId="Web-{1EEBDF5A-B547-4334-8445-AD9A95FADCEF}" dt="2025-04-24T04:15:12.422" v="372" actId="20577"/>
          <ac:spMkLst>
            <pc:docMk/>
            <pc:sldMk cId="758295195" sldId="2147481253"/>
            <ac:spMk id="16" creationId="{630694DF-5923-56AD-F659-1FB1F0860A80}"/>
          </ac:spMkLst>
        </pc:spChg>
        <pc:spChg chg="mod">
          <ac:chgData name="Qi Su" userId="X9KnOhCFnWyTH3kyygiljiWO0QEy1sfYY+jR+faloQY=" providerId="None" clId="Web-{1EEBDF5A-B547-4334-8445-AD9A95FADCEF}" dt="2025-04-24T03:44:38.582" v="93" actId="20577"/>
          <ac:spMkLst>
            <pc:docMk/>
            <pc:sldMk cId="758295195" sldId="2147481253"/>
            <ac:spMk id="17" creationId="{58150A26-CB7D-EE0E-7124-D31EB7E25594}"/>
          </ac:spMkLst>
        </pc:spChg>
      </pc:sldChg>
    </pc:docChg>
  </pc:docChgLst>
  <pc:docChgLst>
    <pc:chgData name="Aryan Rajeev Saxena" userId="PnUbZkmLnFVFnmvMQ4R/ham77TDBxweB7VS7+bxEl0U=" providerId="None" clId="Web-{0950DBB4-049F-43B9-8C7E-74D5F6F8339E}"/>
    <pc:docChg chg="delSld modSld">
      <pc:chgData name="Aryan Rajeev Saxena" userId="PnUbZkmLnFVFnmvMQ4R/ham77TDBxweB7VS7+bxEl0U=" providerId="None" clId="Web-{0950DBB4-049F-43B9-8C7E-74D5F6F8339E}" dt="2025-04-24T02:55:31.867" v="124" actId="1076"/>
      <pc:docMkLst>
        <pc:docMk/>
      </pc:docMkLst>
      <pc:sldChg chg="modSp">
        <pc:chgData name="Aryan Rajeev Saxena" userId="PnUbZkmLnFVFnmvMQ4R/ham77TDBxweB7VS7+bxEl0U=" providerId="None" clId="Web-{0950DBB4-049F-43B9-8C7E-74D5F6F8339E}" dt="2025-04-24T02:45:55.206" v="4" actId="1076"/>
        <pc:sldMkLst>
          <pc:docMk/>
          <pc:sldMk cId="2741420390" sldId="256"/>
        </pc:sldMkLst>
        <pc:spChg chg="mod">
          <ac:chgData name="Aryan Rajeev Saxena" userId="PnUbZkmLnFVFnmvMQ4R/ham77TDBxweB7VS7+bxEl0U=" providerId="None" clId="Web-{0950DBB4-049F-43B9-8C7E-74D5F6F8339E}" dt="2025-04-24T02:45:47.488" v="3" actId="20577"/>
          <ac:spMkLst>
            <pc:docMk/>
            <pc:sldMk cId="2741420390" sldId="256"/>
            <ac:spMk id="5" creationId="{E678D674-EF39-464E-A2D6-600223C7D251}"/>
          </ac:spMkLst>
        </pc:spChg>
        <pc:spChg chg="mod">
          <ac:chgData name="Aryan Rajeev Saxena" userId="PnUbZkmLnFVFnmvMQ4R/ham77TDBxweB7VS7+bxEl0U=" providerId="None" clId="Web-{0950DBB4-049F-43B9-8C7E-74D5F6F8339E}" dt="2025-04-24T02:45:55.206" v="4" actId="1076"/>
          <ac:spMkLst>
            <pc:docMk/>
            <pc:sldMk cId="2741420390" sldId="256"/>
            <ac:spMk id="6" creationId="{9AC79A8B-23A0-40AE-B08B-63217B0FF8C7}"/>
          </ac:spMkLst>
        </pc:spChg>
      </pc:sldChg>
      <pc:sldChg chg="modNotes">
        <pc:chgData name="Aryan Rajeev Saxena" userId="PnUbZkmLnFVFnmvMQ4R/ham77TDBxweB7VS7+bxEl0U=" providerId="None" clId="Web-{0950DBB4-049F-43B9-8C7E-74D5F6F8339E}" dt="2025-04-24T02:46:28.816" v="5"/>
        <pc:sldMkLst>
          <pc:docMk/>
          <pc:sldMk cId="751887875" sldId="260"/>
        </pc:sldMkLst>
      </pc:sldChg>
      <pc:sldChg chg="modNotes">
        <pc:chgData name="Aryan Rajeev Saxena" userId="PnUbZkmLnFVFnmvMQ4R/ham77TDBxweB7VS7+bxEl0U=" providerId="None" clId="Web-{0950DBB4-049F-43B9-8C7E-74D5F6F8339E}" dt="2025-04-24T02:46:32.644" v="6"/>
        <pc:sldMkLst>
          <pc:docMk/>
          <pc:sldMk cId="2544543080" sldId="262"/>
        </pc:sldMkLst>
      </pc:sldChg>
      <pc:sldChg chg="modNotes">
        <pc:chgData name="Aryan Rajeev Saxena" userId="PnUbZkmLnFVFnmvMQ4R/ham77TDBxweB7VS7+bxEl0U=" providerId="None" clId="Web-{0950DBB4-049F-43B9-8C7E-74D5F6F8339E}" dt="2025-04-24T02:46:36.644" v="7"/>
        <pc:sldMkLst>
          <pc:docMk/>
          <pc:sldMk cId="2462915399" sldId="263"/>
        </pc:sldMkLst>
      </pc:sldChg>
      <pc:sldChg chg="delSp">
        <pc:chgData name="Aryan Rajeev Saxena" userId="PnUbZkmLnFVFnmvMQ4R/ham77TDBxweB7VS7+bxEl0U=" providerId="None" clId="Web-{0950DBB4-049F-43B9-8C7E-74D5F6F8339E}" dt="2025-04-24T02:47:40.863" v="18"/>
        <pc:sldMkLst>
          <pc:docMk/>
          <pc:sldMk cId="1953955228" sldId="2147481152"/>
        </pc:sldMkLst>
        <pc:spChg chg="del">
          <ac:chgData name="Aryan Rajeev Saxena" userId="PnUbZkmLnFVFnmvMQ4R/ham77TDBxweB7VS7+bxEl0U=" providerId="None" clId="Web-{0950DBB4-049F-43B9-8C7E-74D5F6F8339E}" dt="2025-04-24T02:47:40.863" v="18"/>
          <ac:spMkLst>
            <pc:docMk/>
            <pc:sldMk cId="1953955228" sldId="2147481152"/>
            <ac:spMk id="6" creationId="{CD8F7E7F-1A7D-0423-6C81-EEBF4525DE89}"/>
          </ac:spMkLst>
        </pc:spChg>
      </pc:sldChg>
      <pc:sldChg chg="modNotes">
        <pc:chgData name="Aryan Rajeev Saxena" userId="PnUbZkmLnFVFnmvMQ4R/ham77TDBxweB7VS7+bxEl0U=" providerId="None" clId="Web-{0950DBB4-049F-43B9-8C7E-74D5F6F8339E}" dt="2025-04-24T02:47:06.488" v="13"/>
        <pc:sldMkLst>
          <pc:docMk/>
          <pc:sldMk cId="1807012835" sldId="2147481202"/>
        </pc:sldMkLst>
      </pc:sldChg>
      <pc:sldChg chg="modSp">
        <pc:chgData name="Aryan Rajeev Saxena" userId="PnUbZkmLnFVFnmvMQ4R/ham77TDBxweB7VS7+bxEl0U=" providerId="None" clId="Web-{0950DBB4-049F-43B9-8C7E-74D5F6F8339E}" dt="2025-04-24T02:52:22.397" v="74" actId="20577"/>
        <pc:sldMkLst>
          <pc:docMk/>
          <pc:sldMk cId="322538911" sldId="2147481212"/>
        </pc:sldMkLst>
        <pc:spChg chg="mod">
          <ac:chgData name="Aryan Rajeev Saxena" userId="PnUbZkmLnFVFnmvMQ4R/ham77TDBxweB7VS7+bxEl0U=" providerId="None" clId="Web-{0950DBB4-049F-43B9-8C7E-74D5F6F8339E}" dt="2025-04-24T02:52:22.397" v="74" actId="20577"/>
          <ac:spMkLst>
            <pc:docMk/>
            <pc:sldMk cId="322538911" sldId="2147481212"/>
            <ac:spMk id="5" creationId="{AB82C9B4-7823-A1F6-BD0B-7CD66685B711}"/>
          </ac:spMkLst>
        </pc:spChg>
      </pc:sldChg>
      <pc:sldChg chg="del">
        <pc:chgData name="Aryan Rajeev Saxena" userId="PnUbZkmLnFVFnmvMQ4R/ham77TDBxweB7VS7+bxEl0U=" providerId="None" clId="Web-{0950DBB4-049F-43B9-8C7E-74D5F6F8339E}" dt="2025-04-24T02:46:44.379" v="9"/>
        <pc:sldMkLst>
          <pc:docMk/>
          <pc:sldMk cId="1269968972" sldId="2147481220"/>
        </pc:sldMkLst>
      </pc:sldChg>
      <pc:sldChg chg="modNotes">
        <pc:chgData name="Aryan Rajeev Saxena" userId="PnUbZkmLnFVFnmvMQ4R/ham77TDBxweB7VS7+bxEl0U=" providerId="None" clId="Web-{0950DBB4-049F-43B9-8C7E-74D5F6F8339E}" dt="2025-04-24T02:46:50.472" v="11"/>
        <pc:sldMkLst>
          <pc:docMk/>
          <pc:sldMk cId="4279064146" sldId="2147481224"/>
        </pc:sldMkLst>
      </pc:sldChg>
      <pc:sldChg chg="modSp">
        <pc:chgData name="Aryan Rajeev Saxena" userId="PnUbZkmLnFVFnmvMQ4R/ham77TDBxweB7VS7+bxEl0U=" providerId="None" clId="Web-{0950DBB4-049F-43B9-8C7E-74D5F6F8339E}" dt="2025-04-24T02:55:31.867" v="124" actId="1076"/>
        <pc:sldMkLst>
          <pc:docMk/>
          <pc:sldMk cId="1331725311" sldId="2147481226"/>
        </pc:sldMkLst>
        <pc:spChg chg="mod">
          <ac:chgData name="Aryan Rajeev Saxena" userId="PnUbZkmLnFVFnmvMQ4R/ham77TDBxweB7VS7+bxEl0U=" providerId="None" clId="Web-{0950DBB4-049F-43B9-8C7E-74D5F6F8339E}" dt="2025-04-24T02:54:47.101" v="112"/>
          <ac:spMkLst>
            <pc:docMk/>
            <pc:sldMk cId="1331725311" sldId="2147481226"/>
            <ac:spMk id="9" creationId="{14149784-BFAE-CF0B-48B3-B32CF1303F11}"/>
          </ac:spMkLst>
        </pc:spChg>
        <pc:spChg chg="mod">
          <ac:chgData name="Aryan Rajeev Saxena" userId="PnUbZkmLnFVFnmvMQ4R/ham77TDBxweB7VS7+bxEl0U=" providerId="None" clId="Web-{0950DBB4-049F-43B9-8C7E-74D5F6F8339E}" dt="2025-04-24T02:54:59.069" v="116" actId="1076"/>
          <ac:spMkLst>
            <pc:docMk/>
            <pc:sldMk cId="1331725311" sldId="2147481226"/>
            <ac:spMk id="11" creationId="{82B92A1D-FEC0-E2F5-F602-E725A8AD071C}"/>
          </ac:spMkLst>
        </pc:spChg>
        <pc:spChg chg="mod">
          <ac:chgData name="Aryan Rajeev Saxena" userId="PnUbZkmLnFVFnmvMQ4R/ham77TDBxweB7VS7+bxEl0U=" providerId="None" clId="Web-{0950DBB4-049F-43B9-8C7E-74D5F6F8339E}" dt="2025-04-24T02:55:31.867" v="124" actId="1076"/>
          <ac:spMkLst>
            <pc:docMk/>
            <pc:sldMk cId="1331725311" sldId="2147481226"/>
            <ac:spMk id="13" creationId="{89DCF3E2-E17F-6EF0-28F5-6669D40F557F}"/>
          </ac:spMkLst>
        </pc:spChg>
        <pc:spChg chg="mod">
          <ac:chgData name="Aryan Rajeev Saxena" userId="PnUbZkmLnFVFnmvMQ4R/ham77TDBxweB7VS7+bxEl0U=" providerId="None" clId="Web-{0950DBB4-049F-43B9-8C7E-74D5F6F8339E}" dt="2025-04-24T02:54:47.257" v="115"/>
          <ac:spMkLst>
            <pc:docMk/>
            <pc:sldMk cId="1331725311" sldId="2147481226"/>
            <ac:spMk id="17" creationId="{2A1C4070-6E31-5054-CA46-328A5FB8484C}"/>
          </ac:spMkLst>
        </pc:spChg>
        <pc:spChg chg="mod">
          <ac:chgData name="Aryan Rajeev Saxena" userId="PnUbZkmLnFVFnmvMQ4R/ham77TDBxweB7VS7+bxEl0U=" providerId="None" clId="Web-{0950DBB4-049F-43B9-8C7E-74D5F6F8339E}" dt="2025-04-24T02:50:48.912" v="47" actId="20577"/>
          <ac:spMkLst>
            <pc:docMk/>
            <pc:sldMk cId="1331725311" sldId="2147481226"/>
            <ac:spMk id="31" creationId="{B78F2FAD-ECD4-3C56-5BFD-2F428DD577D7}"/>
          </ac:spMkLst>
        </pc:spChg>
        <pc:spChg chg="mod">
          <ac:chgData name="Aryan Rajeev Saxena" userId="PnUbZkmLnFVFnmvMQ4R/ham77TDBxweB7VS7+bxEl0U=" providerId="None" clId="Web-{0950DBB4-049F-43B9-8C7E-74D5F6F8339E}" dt="2025-04-24T02:51:15.302" v="60" actId="20577"/>
          <ac:spMkLst>
            <pc:docMk/>
            <pc:sldMk cId="1331725311" sldId="2147481226"/>
            <ac:spMk id="47" creationId="{FE87797B-C71A-3DE0-712D-D3CAB2BDF6A2}"/>
          </ac:spMkLst>
        </pc:spChg>
        <pc:spChg chg="mod">
          <ac:chgData name="Aryan Rajeev Saxena" userId="PnUbZkmLnFVFnmvMQ4R/ham77TDBxweB7VS7+bxEl0U=" providerId="None" clId="Web-{0950DBB4-049F-43B9-8C7E-74D5F6F8339E}" dt="2025-04-24T02:51:45.615" v="65" actId="20577"/>
          <ac:spMkLst>
            <pc:docMk/>
            <pc:sldMk cId="1331725311" sldId="2147481226"/>
            <ac:spMk id="57" creationId="{5F098247-B714-CEF5-95DF-6FA1A2DCD7EB}"/>
          </ac:spMkLst>
        </pc:spChg>
        <pc:spChg chg="mod">
          <ac:chgData name="Aryan Rajeev Saxena" userId="PnUbZkmLnFVFnmvMQ4R/ham77TDBxweB7VS7+bxEl0U=" providerId="None" clId="Web-{0950DBB4-049F-43B9-8C7E-74D5F6F8339E}" dt="2025-04-24T02:49:55.286" v="25" actId="20577"/>
          <ac:spMkLst>
            <pc:docMk/>
            <pc:sldMk cId="1331725311" sldId="2147481226"/>
            <ac:spMk id="59" creationId="{0F19973E-41FD-FD5E-E904-FE67E7658A88}"/>
          </ac:spMkLst>
        </pc:spChg>
        <pc:graphicFrameChg chg="mod modGraphic">
          <ac:chgData name="Aryan Rajeev Saxena" userId="PnUbZkmLnFVFnmvMQ4R/ham77TDBxweB7VS7+bxEl0U=" providerId="None" clId="Web-{0950DBB4-049F-43B9-8C7E-74D5F6F8339E}" dt="2025-04-24T02:50:39.599" v="29"/>
          <ac:graphicFrameMkLst>
            <pc:docMk/>
            <pc:sldMk cId="1331725311" sldId="2147481226"/>
            <ac:graphicFrameMk id="14" creationId="{1FE5A9FF-9D51-8555-C00A-1FB3C72196A8}"/>
          </ac:graphicFrameMkLst>
        </pc:graphicFrameChg>
        <pc:picChg chg="mod modCrop">
          <ac:chgData name="Aryan Rajeev Saxena" userId="PnUbZkmLnFVFnmvMQ4R/ham77TDBxweB7VS7+bxEl0U=" providerId="None" clId="Web-{0950DBB4-049F-43B9-8C7E-74D5F6F8339E}" dt="2025-04-24T02:55:13.445" v="119" actId="14100"/>
          <ac:picMkLst>
            <pc:docMk/>
            <pc:sldMk cId="1331725311" sldId="2147481226"/>
            <ac:picMk id="46" creationId="{A9E90A46-F22B-1550-C796-023D67F38744}"/>
          </ac:picMkLst>
        </pc:picChg>
      </pc:sldChg>
      <pc:sldChg chg="modSp">
        <pc:chgData name="Aryan Rajeev Saxena" userId="PnUbZkmLnFVFnmvMQ4R/ham77TDBxweB7VS7+bxEl0U=" providerId="None" clId="Web-{0950DBB4-049F-43B9-8C7E-74D5F6F8339E}" dt="2025-04-24T02:53:09.944" v="105" actId="20577"/>
        <pc:sldMkLst>
          <pc:docMk/>
          <pc:sldMk cId="1260691043" sldId="2147481234"/>
        </pc:sldMkLst>
        <pc:spChg chg="mod">
          <ac:chgData name="Aryan Rajeev Saxena" userId="PnUbZkmLnFVFnmvMQ4R/ham77TDBxweB7VS7+bxEl0U=" providerId="None" clId="Web-{0950DBB4-049F-43B9-8C7E-74D5F6F8339E}" dt="2025-04-24T02:52:57.022" v="97" actId="20577"/>
          <ac:spMkLst>
            <pc:docMk/>
            <pc:sldMk cId="1260691043" sldId="2147481234"/>
            <ac:spMk id="43" creationId="{A8C3CF8C-1B4E-A55D-3791-14A39211A274}"/>
          </ac:spMkLst>
        </pc:spChg>
        <pc:spChg chg="mod">
          <ac:chgData name="Aryan Rajeev Saxena" userId="PnUbZkmLnFVFnmvMQ4R/ham77TDBxweB7VS7+bxEl0U=" providerId="None" clId="Web-{0950DBB4-049F-43B9-8C7E-74D5F6F8339E}" dt="2025-04-24T02:53:09.944" v="105" actId="20577"/>
          <ac:spMkLst>
            <pc:docMk/>
            <pc:sldMk cId="1260691043" sldId="2147481234"/>
            <ac:spMk id="49" creationId="{3C2DF3B8-CD4B-A5DB-2D01-9C393DEDD33B}"/>
          </ac:spMkLst>
        </pc:spChg>
      </pc:sldChg>
      <pc:sldChg chg="modNotes">
        <pc:chgData name="Aryan Rajeev Saxena" userId="PnUbZkmLnFVFnmvMQ4R/ham77TDBxweB7VS7+bxEl0U=" providerId="None" clId="Web-{0950DBB4-049F-43B9-8C7E-74D5F6F8339E}" dt="2025-04-24T02:46:40.660" v="8"/>
        <pc:sldMkLst>
          <pc:docMk/>
          <pc:sldMk cId="1554780551" sldId="2147481242"/>
        </pc:sldMkLst>
      </pc:sldChg>
      <pc:sldChg chg="modNotes">
        <pc:chgData name="Aryan Rajeev Saxena" userId="PnUbZkmLnFVFnmvMQ4R/ham77TDBxweB7VS7+bxEl0U=" providerId="None" clId="Web-{0950DBB4-049F-43B9-8C7E-74D5F6F8339E}" dt="2025-04-24T02:46:54.629" v="12"/>
        <pc:sldMkLst>
          <pc:docMk/>
          <pc:sldMk cId="2198302553" sldId="2147481251"/>
        </pc:sldMkLst>
      </pc:sldChg>
      <pc:sldChg chg="modNotes">
        <pc:chgData name="Aryan Rajeev Saxena" userId="PnUbZkmLnFVFnmvMQ4R/ham77TDBxweB7VS7+bxEl0U=" providerId="None" clId="Web-{0950DBB4-049F-43B9-8C7E-74D5F6F8339E}" dt="2025-04-24T02:46:46.675" v="10"/>
        <pc:sldMkLst>
          <pc:docMk/>
          <pc:sldMk cId="3895768370" sldId="2147481252"/>
        </pc:sldMkLst>
      </pc:sldChg>
    </pc:docChg>
  </pc:docChgLst>
  <pc:docChgLst>
    <pc:chgData name="Tzu-Yun Huang" userId="lS+ajudh2i5VXDkFktXKQ7oaF5t8cwF8tc4M5/f7XeE=" providerId="None" clId="Web-{7A6D67C1-27BA-4F16-952B-0E385FEF0B3E}"/>
    <pc:docChg chg="modSld">
      <pc:chgData name="Tzu-Yun Huang" userId="lS+ajudh2i5VXDkFktXKQ7oaF5t8cwF8tc4M5/f7XeE=" providerId="None" clId="Web-{7A6D67C1-27BA-4F16-952B-0E385FEF0B3E}" dt="2025-04-24T13:19:19.168" v="21"/>
      <pc:docMkLst>
        <pc:docMk/>
      </pc:docMkLst>
      <pc:sldChg chg="modSp">
        <pc:chgData name="Tzu-Yun Huang" userId="lS+ajudh2i5VXDkFktXKQ7oaF5t8cwF8tc4M5/f7XeE=" providerId="None" clId="Web-{7A6D67C1-27BA-4F16-952B-0E385FEF0B3E}" dt="2025-04-24T13:04:35.585" v="19"/>
        <pc:sldMkLst>
          <pc:docMk/>
          <pc:sldMk cId="2544543080" sldId="262"/>
        </pc:sldMkLst>
        <pc:spChg chg="mod">
          <ac:chgData name="Tzu-Yun Huang" userId="lS+ajudh2i5VXDkFktXKQ7oaF5t8cwF8tc4M5/f7XeE=" providerId="None" clId="Web-{7A6D67C1-27BA-4F16-952B-0E385FEF0B3E}" dt="2025-04-24T13:02:35.113" v="15" actId="20577"/>
          <ac:spMkLst>
            <pc:docMk/>
            <pc:sldMk cId="2544543080" sldId="262"/>
            <ac:spMk id="2" creationId="{A71556AF-0160-97F0-1699-1FFB501D9E02}"/>
          </ac:spMkLst>
        </pc:spChg>
        <pc:graphicFrameChg chg="mod modGraphic">
          <ac:chgData name="Tzu-Yun Huang" userId="lS+ajudh2i5VXDkFktXKQ7oaF5t8cwF8tc4M5/f7XeE=" providerId="None" clId="Web-{7A6D67C1-27BA-4F16-952B-0E385FEF0B3E}" dt="2025-04-24T13:04:35.585" v="19"/>
          <ac:graphicFrameMkLst>
            <pc:docMk/>
            <pc:sldMk cId="2544543080" sldId="262"/>
            <ac:graphicFrameMk id="8" creationId="{73DA9BFE-4BE0-97C8-1F66-463E3EF213DB}"/>
          </ac:graphicFrameMkLst>
        </pc:graphicFrameChg>
      </pc:sldChg>
      <pc:sldChg chg="modSp">
        <pc:chgData name="Tzu-Yun Huang" userId="lS+ajudh2i5VXDkFktXKQ7oaF5t8cwF8tc4M5/f7XeE=" providerId="None" clId="Web-{7A6D67C1-27BA-4F16-952B-0E385FEF0B3E}" dt="2025-04-24T01:55:09.617" v="3" actId="20577"/>
        <pc:sldMkLst>
          <pc:docMk/>
          <pc:sldMk cId="2462915399" sldId="263"/>
        </pc:sldMkLst>
        <pc:spChg chg="mod">
          <ac:chgData name="Tzu-Yun Huang" userId="lS+ajudh2i5VXDkFktXKQ7oaF5t8cwF8tc4M5/f7XeE=" providerId="None" clId="Web-{7A6D67C1-27BA-4F16-952B-0E385FEF0B3E}" dt="2025-04-24T01:55:09.617" v="3" actId="20577"/>
          <ac:spMkLst>
            <pc:docMk/>
            <pc:sldMk cId="2462915399" sldId="263"/>
            <ac:spMk id="2" creationId="{C9C8448E-3ADC-C0D2-0F26-9069E945D200}"/>
          </ac:spMkLst>
        </pc:spChg>
      </pc:sldChg>
      <pc:sldChg chg="addSp delSp modSp">
        <pc:chgData name="Tzu-Yun Huang" userId="lS+ajudh2i5VXDkFktXKQ7oaF5t8cwF8tc4M5/f7XeE=" providerId="None" clId="Web-{7A6D67C1-27BA-4F16-952B-0E385FEF0B3E}" dt="2025-04-24T13:19:19.168" v="21"/>
        <pc:sldMkLst>
          <pc:docMk/>
          <pc:sldMk cId="1554780551" sldId="2147481242"/>
        </pc:sldMkLst>
        <pc:spChg chg="mod">
          <ac:chgData name="Tzu-Yun Huang" userId="lS+ajudh2i5VXDkFktXKQ7oaF5t8cwF8tc4M5/f7XeE=" providerId="None" clId="Web-{7A6D67C1-27BA-4F16-952B-0E385FEF0B3E}" dt="2025-04-24T02:20:41.193" v="6" actId="20577"/>
          <ac:spMkLst>
            <pc:docMk/>
            <pc:sldMk cId="1554780551" sldId="2147481242"/>
            <ac:spMk id="7" creationId="{D039ACC2-8561-51D1-9B17-279E8A76EEF1}"/>
          </ac:spMkLst>
        </pc:spChg>
        <pc:cxnChg chg="add del">
          <ac:chgData name="Tzu-Yun Huang" userId="lS+ajudh2i5VXDkFktXKQ7oaF5t8cwF8tc4M5/f7XeE=" providerId="None" clId="Web-{7A6D67C1-27BA-4F16-952B-0E385FEF0B3E}" dt="2025-04-24T13:19:19.168" v="21"/>
          <ac:cxnSpMkLst>
            <pc:docMk/>
            <pc:sldMk cId="1554780551" sldId="2147481242"/>
            <ac:cxnSpMk id="36" creationId="{3480A780-B256-AB87-B4E9-7FC71FE0B9AD}"/>
          </ac:cxnSpMkLst>
        </pc:cxnChg>
      </pc:sldChg>
    </pc:docChg>
  </pc:docChgLst>
  <pc:docChgLst>
    <pc:chgData name="Deepthi V" userId="VTKoIbwtaEVk1/Pwt+SJqOUzkLNcC7ysPNfQ6nY3HfE=" providerId="None" clId="Web-{27DD1631-28E8-4C5C-B6A1-C7C5115843CD}"/>
    <pc:docChg chg="sldOrd">
      <pc:chgData name="Deepthi V" userId="VTKoIbwtaEVk1/Pwt+SJqOUzkLNcC7ysPNfQ6nY3HfE=" providerId="None" clId="Web-{27DD1631-28E8-4C5C-B6A1-C7C5115843CD}" dt="2025-04-24T01:00:59.818" v="0"/>
      <pc:docMkLst>
        <pc:docMk/>
      </pc:docMkLst>
      <pc:sldChg chg="ord">
        <pc:chgData name="Deepthi V" userId="VTKoIbwtaEVk1/Pwt+SJqOUzkLNcC7ysPNfQ6nY3HfE=" providerId="None" clId="Web-{27DD1631-28E8-4C5C-B6A1-C7C5115843CD}" dt="2025-04-24T01:00:59.818" v="0"/>
        <pc:sldMkLst>
          <pc:docMk/>
          <pc:sldMk cId="3264775900" sldId="258"/>
        </pc:sldMkLst>
      </pc:sldChg>
    </pc:docChg>
  </pc:docChgLst>
  <pc:docChgLst>
    <pc:chgData name="Aryan Rajeev Saxena" userId="PnUbZkmLnFVFnmvMQ4R/ham77TDBxweB7VS7+bxEl0U=" providerId="None" clId="Web-{FF91A524-62ED-4490-8146-50F61C009808}"/>
    <pc:docChg chg="modSld">
      <pc:chgData name="Aryan Rajeev Saxena" userId="PnUbZkmLnFVFnmvMQ4R/ham77TDBxweB7VS7+bxEl0U=" providerId="None" clId="Web-{FF91A524-62ED-4490-8146-50F61C009808}" dt="2025-04-24T03:28:42.807" v="2" actId="20577"/>
      <pc:docMkLst>
        <pc:docMk/>
      </pc:docMkLst>
      <pc:sldChg chg="modSp">
        <pc:chgData name="Aryan Rajeev Saxena" userId="PnUbZkmLnFVFnmvMQ4R/ham77TDBxweB7VS7+bxEl0U=" providerId="None" clId="Web-{FF91A524-62ED-4490-8146-50F61C009808}" dt="2025-04-24T03:27:19.495" v="0" actId="20577"/>
        <pc:sldMkLst>
          <pc:docMk/>
          <pc:sldMk cId="751887875" sldId="260"/>
        </pc:sldMkLst>
        <pc:spChg chg="mod">
          <ac:chgData name="Aryan Rajeev Saxena" userId="PnUbZkmLnFVFnmvMQ4R/ham77TDBxweB7VS7+bxEl0U=" providerId="None" clId="Web-{FF91A524-62ED-4490-8146-50F61C009808}" dt="2025-04-24T03:27:19.495" v="0" actId="20577"/>
          <ac:spMkLst>
            <pc:docMk/>
            <pc:sldMk cId="751887875" sldId="260"/>
            <ac:spMk id="2" creationId="{C50D5249-83D6-E655-CC25-EEE867E2EED2}"/>
          </ac:spMkLst>
        </pc:spChg>
      </pc:sldChg>
      <pc:sldChg chg="modSp">
        <pc:chgData name="Aryan Rajeev Saxena" userId="PnUbZkmLnFVFnmvMQ4R/ham77TDBxweB7VS7+bxEl0U=" providerId="None" clId="Web-{FF91A524-62ED-4490-8146-50F61C009808}" dt="2025-04-24T03:28:42.807" v="2" actId="20577"/>
        <pc:sldMkLst>
          <pc:docMk/>
          <pc:sldMk cId="2462915399" sldId="263"/>
        </pc:sldMkLst>
        <pc:spChg chg="mod">
          <ac:chgData name="Aryan Rajeev Saxena" userId="PnUbZkmLnFVFnmvMQ4R/ham77TDBxweB7VS7+bxEl0U=" providerId="None" clId="Web-{FF91A524-62ED-4490-8146-50F61C009808}" dt="2025-04-24T03:28:42.807" v="2" actId="20577"/>
          <ac:spMkLst>
            <pc:docMk/>
            <pc:sldMk cId="2462915399" sldId="263"/>
            <ac:spMk id="2" creationId="{C9C8448E-3ADC-C0D2-0F26-9069E945D200}"/>
          </ac:spMkLst>
        </pc:spChg>
      </pc:sldChg>
    </pc:docChg>
  </pc:docChgLst>
  <pc:docChgLst>
    <pc:chgData name="Aryan Rajeev Saxena" userId="6bb50483-5a36-45fc-8ffa-e904ff242568" providerId="ADAL" clId="{3EBD1344-2299-4C41-9393-3EE01DC331E0}"/>
    <pc:docChg chg="undo custSel modSld">
      <pc:chgData name="Aryan Rajeev Saxena" userId="6bb50483-5a36-45fc-8ffa-e904ff242568" providerId="ADAL" clId="{3EBD1344-2299-4C41-9393-3EE01DC331E0}" dt="2025-04-11T16:42:34.936" v="294" actId="20577"/>
      <pc:docMkLst>
        <pc:docMk/>
      </pc:docMkLst>
      <pc:sldChg chg="modSp mod">
        <pc:chgData name="Aryan Rajeev Saxena" userId="6bb50483-5a36-45fc-8ffa-e904ff242568" providerId="ADAL" clId="{3EBD1344-2299-4C41-9393-3EE01DC331E0}" dt="2025-04-11T16:28:29.136" v="158" actId="20577"/>
        <pc:sldMkLst>
          <pc:docMk/>
          <pc:sldMk cId="3264775900" sldId="258"/>
        </pc:sldMkLst>
        <pc:spChg chg="mod">
          <ac:chgData name="Aryan Rajeev Saxena" userId="6bb50483-5a36-45fc-8ffa-e904ff242568" providerId="ADAL" clId="{3EBD1344-2299-4C41-9393-3EE01DC331E0}" dt="2025-04-11T16:28:29.136" v="158" actId="20577"/>
          <ac:spMkLst>
            <pc:docMk/>
            <pc:sldMk cId="3264775900" sldId="258"/>
            <ac:spMk id="66" creationId="{62E0CDAA-9729-68BB-B900-7CF61C051251}"/>
          </ac:spMkLst>
        </pc:spChg>
        <pc:spChg chg="mod">
          <ac:chgData name="Aryan Rajeev Saxena" userId="6bb50483-5a36-45fc-8ffa-e904ff242568" providerId="ADAL" clId="{3EBD1344-2299-4C41-9393-3EE01DC331E0}" dt="2025-04-11T16:27:30.424" v="109" actId="20577"/>
          <ac:spMkLst>
            <pc:docMk/>
            <pc:sldMk cId="3264775900" sldId="258"/>
            <ac:spMk id="67" creationId="{63755F4D-AB5E-BC38-0003-D44403FC3D88}"/>
          </ac:spMkLst>
        </pc:spChg>
        <pc:spChg chg="mod">
          <ac:chgData name="Aryan Rajeev Saxena" userId="6bb50483-5a36-45fc-8ffa-e904ff242568" providerId="ADAL" clId="{3EBD1344-2299-4C41-9393-3EE01DC331E0}" dt="2025-04-11T16:25:02.234" v="47" actId="20577"/>
          <ac:spMkLst>
            <pc:docMk/>
            <pc:sldMk cId="3264775900" sldId="258"/>
            <ac:spMk id="68" creationId="{AC347670-EB80-7E19-2BD5-25023F5A9E79}"/>
          </ac:spMkLst>
        </pc:spChg>
        <pc:spChg chg="mod">
          <ac:chgData name="Aryan Rajeev Saxena" userId="6bb50483-5a36-45fc-8ffa-e904ff242568" providerId="ADAL" clId="{3EBD1344-2299-4C41-9393-3EE01DC331E0}" dt="2025-04-11T16:27:14.330" v="99" actId="20577"/>
          <ac:spMkLst>
            <pc:docMk/>
            <pc:sldMk cId="3264775900" sldId="258"/>
            <ac:spMk id="69" creationId="{56AAE20A-B772-AEA9-235F-FCE7FC60175A}"/>
          </ac:spMkLst>
        </pc:spChg>
        <pc:spChg chg="mod">
          <ac:chgData name="Aryan Rajeev Saxena" userId="6bb50483-5a36-45fc-8ffa-e904ff242568" providerId="ADAL" clId="{3EBD1344-2299-4C41-9393-3EE01DC331E0}" dt="2025-04-11T16:24:23.621" v="33" actId="20577"/>
          <ac:spMkLst>
            <pc:docMk/>
            <pc:sldMk cId="3264775900" sldId="258"/>
            <ac:spMk id="70" creationId="{D760D89E-FD0F-2BD2-A1C4-AF0835EC25EC}"/>
          </ac:spMkLst>
        </pc:spChg>
      </pc:sldChg>
      <pc:sldChg chg="modSp mod">
        <pc:chgData name="Aryan Rajeev Saxena" userId="6bb50483-5a36-45fc-8ffa-e904ff242568" providerId="ADAL" clId="{3EBD1344-2299-4C41-9393-3EE01DC331E0}" dt="2025-04-11T16:42:34.936" v="294" actId="20577"/>
        <pc:sldMkLst>
          <pc:docMk/>
          <pc:sldMk cId="758295195" sldId="2147481253"/>
        </pc:sldMkLst>
        <pc:spChg chg="mod">
          <ac:chgData name="Aryan Rajeev Saxena" userId="6bb50483-5a36-45fc-8ffa-e904ff242568" providerId="ADAL" clId="{3EBD1344-2299-4C41-9393-3EE01DC331E0}" dt="2025-04-11T16:30:00.528" v="198" actId="1076"/>
          <ac:spMkLst>
            <pc:docMk/>
            <pc:sldMk cId="758295195" sldId="2147481253"/>
            <ac:spMk id="14" creationId="{B27A8E86-966F-25B2-02AD-776316FC1B3A}"/>
          </ac:spMkLst>
        </pc:spChg>
        <pc:spChg chg="mod">
          <ac:chgData name="Aryan Rajeev Saxena" userId="6bb50483-5a36-45fc-8ffa-e904ff242568" providerId="ADAL" clId="{3EBD1344-2299-4C41-9393-3EE01DC331E0}" dt="2025-04-11T16:30:25.097" v="215" actId="20577"/>
          <ac:spMkLst>
            <pc:docMk/>
            <pc:sldMk cId="758295195" sldId="2147481253"/>
            <ac:spMk id="15" creationId="{DDB57D14-33A4-D5E8-EF63-621E6E8B8C12}"/>
          </ac:spMkLst>
        </pc:spChg>
        <pc:spChg chg="mod">
          <ac:chgData name="Aryan Rajeev Saxena" userId="6bb50483-5a36-45fc-8ffa-e904ff242568" providerId="ADAL" clId="{3EBD1344-2299-4C41-9393-3EE01DC331E0}" dt="2025-04-11T16:39:00.245" v="263" actId="20577"/>
          <ac:spMkLst>
            <pc:docMk/>
            <pc:sldMk cId="758295195" sldId="2147481253"/>
            <ac:spMk id="16" creationId="{630694DF-5923-56AD-F659-1FB1F0860A80}"/>
          </ac:spMkLst>
        </pc:spChg>
        <pc:spChg chg="mod">
          <ac:chgData name="Aryan Rajeev Saxena" userId="6bb50483-5a36-45fc-8ffa-e904ff242568" providerId="ADAL" clId="{3EBD1344-2299-4C41-9393-3EE01DC331E0}" dt="2025-04-11T16:42:34.936" v="294" actId="20577"/>
          <ac:spMkLst>
            <pc:docMk/>
            <pc:sldMk cId="758295195" sldId="2147481253"/>
            <ac:spMk id="17" creationId="{58150A26-CB7D-EE0E-7124-D31EB7E25594}"/>
          </ac:spMkLst>
        </pc:spChg>
      </pc:sldChg>
    </pc:docChg>
  </pc:docChgLst>
  <pc:docChgLst>
    <pc:chgData name="Aryan Rajeev Saxena" userId="PnUbZkmLnFVFnmvMQ4R/ham77TDBxweB7VS7+bxEl0U=" providerId="None" clId="Web-{70126BFB-B880-4F42-BFAF-77CE3BE80301}"/>
    <pc:docChg chg="modSld">
      <pc:chgData name="Aryan Rajeev Saxena" userId="PnUbZkmLnFVFnmvMQ4R/ham77TDBxweB7VS7+bxEl0U=" providerId="None" clId="Web-{70126BFB-B880-4F42-BFAF-77CE3BE80301}" dt="2025-04-24T03:25:29.503" v="23" actId="20577"/>
      <pc:docMkLst>
        <pc:docMk/>
      </pc:docMkLst>
      <pc:sldChg chg="modSp">
        <pc:chgData name="Aryan Rajeev Saxena" userId="PnUbZkmLnFVFnmvMQ4R/ham77TDBxweB7VS7+bxEl0U=" providerId="None" clId="Web-{70126BFB-B880-4F42-BFAF-77CE3BE80301}" dt="2025-04-24T03:25:29.503" v="23" actId="20577"/>
        <pc:sldMkLst>
          <pc:docMk/>
          <pc:sldMk cId="758295195" sldId="2147481253"/>
        </pc:sldMkLst>
        <pc:spChg chg="mod">
          <ac:chgData name="Aryan Rajeev Saxena" userId="PnUbZkmLnFVFnmvMQ4R/ham77TDBxweB7VS7+bxEl0U=" providerId="None" clId="Web-{70126BFB-B880-4F42-BFAF-77CE3BE80301}" dt="2025-04-24T03:25:29.503" v="23" actId="20577"/>
          <ac:spMkLst>
            <pc:docMk/>
            <pc:sldMk cId="758295195" sldId="2147481253"/>
            <ac:spMk id="15" creationId="{DDB57D14-33A4-D5E8-EF63-621E6E8B8C12}"/>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3" Type="http://schemas.openxmlformats.org/officeDocument/2006/relationships/oleObject" Target="https://purdue0-my.sharepoint.com/personal/wang6586_purdue_edu/Documents/Week6_Kearney_Spectrum_BarStacked100.xlsx" TargetMode="External"/><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3" Type="http://schemas.openxmlformats.org/officeDocument/2006/relationships/oleObject" Target="https://purdue0-my.sharepoint.com/personal/dv_purdue_edu/Documents/Week5_Kearney_Spectrum_BarClustered%201.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https://purdue0-my.sharepoint.com/personal/dshaik_purdue_edu/Documents/Week6_Kearney_Spectrum_Pie.xlsx" TargetMode="External"/><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953917050691243E-2"/>
          <c:y val="0.12688821752265861"/>
          <c:w val="0.94009216589861755"/>
          <c:h val="0.74622356495468278"/>
        </c:manualLayout>
      </c:layout>
      <c:barChart>
        <c:barDir val="bar"/>
        <c:grouping val="stacked"/>
        <c:varyColors val="0"/>
        <c:ser>
          <c:idx val="0"/>
          <c:order val="0"/>
          <c:spPr>
            <a:solidFill>
              <a:srgbClr val="D2D2D2"/>
            </a:solidFill>
            <a:ln w="9525" cmpd="sng" algn="ctr">
              <a:solidFill>
                <a:srgbClr val="FFFFFF"/>
              </a:solidFill>
              <a:prstDash val="solid"/>
            </a:ln>
          </c:spPr>
          <c:invertIfNegative val="0"/>
          <c:dLbls>
            <c:dLbl>
              <c:idx val="1"/>
              <c:layout>
                <c:manualLayout>
                  <c:x val="0"/>
                  <c:y val="2.265861027190332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E2-44E9-87CE-0529EA918DD0}"/>
                </c:ext>
              </c:extLst>
            </c:dLbl>
            <c:dLbl>
              <c:idx val="2"/>
              <c:layout>
                <c:manualLayout>
                  <c:x val="0"/>
                  <c:y val="2.265861027190332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DE2-44E9-87CE-0529EA918D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462.274524158126</c:v>
                </c:pt>
                <c:pt idx="1">
                  <c:v>563</c:v>
                </c:pt>
                <c:pt idx="2">
                  <c:v>410</c:v>
                </c:pt>
                <c:pt idx="3">
                  <c:v>52</c:v>
                </c:pt>
              </c:numCache>
            </c:numRef>
          </c:val>
          <c:extLst>
            <c:ext xmlns:c16="http://schemas.microsoft.com/office/drawing/2014/chart" uri="{C3380CC4-5D6E-409C-BE32-E72D297353CC}">
              <c16:uniqueId val="{00000002-3DE2-44E9-87CE-0529EA918DD0}"/>
            </c:ext>
          </c:extLst>
        </c:ser>
        <c:ser>
          <c:idx val="1"/>
          <c:order val="1"/>
          <c:spPr>
            <a:solidFill>
              <a:srgbClr val="A5A5A5"/>
            </a:solidFill>
            <a:ln w="9525" cmpd="sng" algn="ctr">
              <a:solidFill>
                <a:srgbClr val="FFFFFF"/>
              </a:solidFill>
              <a:prstDash val="solid"/>
            </a:ln>
          </c:spPr>
          <c:invertIfNegative val="0"/>
          <c:dLbls>
            <c:dLbl>
              <c:idx val="3"/>
              <c:layout>
                <c:manualLayout>
                  <c:x val="0"/>
                  <c:y val="2.265861027190332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DE2-44E9-87CE-0529EA918D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25.27452415812422</c:v>
                </c:pt>
                <c:pt idx="1">
                  <c:v>1446.274524158126</c:v>
                </c:pt>
                <c:pt idx="2">
                  <c:v>514.27452415812604</c:v>
                </c:pt>
                <c:pt idx="3">
                  <c:v>694</c:v>
                </c:pt>
              </c:numCache>
            </c:numRef>
          </c:val>
          <c:extLst>
            <c:ext xmlns:c16="http://schemas.microsoft.com/office/drawing/2014/chart" uri="{C3380CC4-5D6E-409C-BE32-E72D297353CC}">
              <c16:uniqueId val="{00000004-3DE2-44E9-87CE-0529EA918DD0}"/>
            </c:ext>
          </c:extLst>
        </c:ser>
        <c:dLbls>
          <c:showLegendKey val="0"/>
          <c:showVal val="0"/>
          <c:showCatName val="0"/>
          <c:showSerName val="0"/>
          <c:showPercent val="0"/>
          <c:showBubbleSize val="0"/>
        </c:dLbls>
        <c:gapWidth val="40"/>
        <c:overlap val="100"/>
        <c:axId val="264291680"/>
        <c:axId val="1"/>
      </c:barChart>
      <c:catAx>
        <c:axId val="264291680"/>
        <c:scaling>
          <c:orientation val="maxMin"/>
        </c:scaling>
        <c:delete val="0"/>
        <c:axPos val="l"/>
        <c:majorGridlines>
          <c:spPr>
            <a:ln>
              <a:noFill/>
            </a:ln>
          </c:spPr>
        </c:majorGridlines>
        <c:majorTickMark val="out"/>
        <c:minorTickMark val="none"/>
        <c:tickLblPos val="none"/>
        <c:spPr>
          <a:ln w="9525" cmpd="sng" algn="ctr">
            <a:solidFill>
              <a:srgbClr val="000000"/>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2187.5490483162503"/>
          <c:min val="0"/>
        </c:scaling>
        <c:delete val="1"/>
        <c:axPos val="t"/>
        <c:numFmt formatCode="General" sourceLinked="1"/>
        <c:majorTickMark val="out"/>
        <c:minorTickMark val="none"/>
        <c:tickLblPos val="nextTo"/>
        <c:crossAx val="26429168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585825027685493E-2"/>
          <c:y val="5.7585825027685493E-2"/>
          <c:w val="0.884828349944629"/>
          <c:h val="0.884828349944629"/>
        </c:manualLayout>
      </c:layout>
      <c:pieChart>
        <c:varyColors val="0"/>
        <c:ser>
          <c:idx val="0"/>
          <c:order val="0"/>
          <c:dPt>
            <c:idx val="0"/>
            <c:bubble3D val="0"/>
            <c:spPr>
              <a:solidFill>
                <a:srgbClr val="7823DC"/>
              </a:solidFill>
              <a:ln w="9525" cmpd="sng" algn="ctr">
                <a:solidFill>
                  <a:srgbClr val="FFFFFF"/>
                </a:solidFill>
                <a:prstDash val="solid"/>
              </a:ln>
            </c:spPr>
            <c:extLst>
              <c:ext xmlns:c16="http://schemas.microsoft.com/office/drawing/2014/chart" uri="{C3380CC4-5D6E-409C-BE32-E72D297353CC}">
                <c16:uniqueId val="{00000000-6A91-4E54-86B7-2D51EDB701E2}"/>
              </c:ext>
            </c:extLst>
          </c:dPt>
          <c:dPt>
            <c:idx val="1"/>
            <c:bubble3D val="0"/>
            <c:spPr>
              <a:solidFill>
                <a:srgbClr val="D2D2D2"/>
              </a:solidFill>
              <a:ln w="9525" cmpd="sng" algn="ctr">
                <a:solidFill>
                  <a:srgbClr val="FFFFFF"/>
                </a:solidFill>
                <a:prstDash val="solid"/>
              </a:ln>
            </c:spPr>
            <c:extLst>
              <c:ext xmlns:c16="http://schemas.microsoft.com/office/drawing/2014/chart" uri="{C3380CC4-5D6E-409C-BE32-E72D297353CC}">
                <c16:uniqueId val="{00000001-6A91-4E54-86B7-2D51EDB701E2}"/>
              </c:ext>
            </c:extLst>
          </c:dPt>
          <c:dPt>
            <c:idx val="2"/>
            <c:bubble3D val="0"/>
            <c:spPr>
              <a:solidFill>
                <a:srgbClr val="A5A5A5"/>
              </a:solidFill>
              <a:ln w="9525" cmpd="sng" algn="ctr">
                <a:solidFill>
                  <a:srgbClr val="FFFFFF"/>
                </a:solidFill>
                <a:prstDash val="solid"/>
              </a:ln>
            </c:spPr>
            <c:extLst>
              <c:ext xmlns:c16="http://schemas.microsoft.com/office/drawing/2014/chart" uri="{C3380CC4-5D6E-409C-BE32-E72D297353CC}">
                <c16:uniqueId val="{00000002-6A91-4E54-86B7-2D51EDB701E2}"/>
              </c:ext>
            </c:extLst>
          </c:dPt>
          <c:val>
            <c:numRef>
              <c:f>Sheet1!$A$1:$A$3</c:f>
              <c:numCache>
                <c:formatCode>General</c:formatCode>
                <c:ptCount val="3"/>
                <c:pt idx="0">
                  <c:v>26</c:v>
                </c:pt>
                <c:pt idx="1">
                  <c:v>70</c:v>
                </c:pt>
                <c:pt idx="2">
                  <c:v>3.74</c:v>
                </c:pt>
              </c:numCache>
            </c:numRef>
          </c:val>
          <c:extLst>
            <c:ext xmlns:c16="http://schemas.microsoft.com/office/drawing/2014/chart" uri="{C3380CC4-5D6E-409C-BE32-E72D297353CC}">
              <c16:uniqueId val="{00000003-6A91-4E54-86B7-2D51EDB701E2}"/>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mn-lt"/>
                <a:ea typeface="+mn-ea"/>
                <a:cs typeface="+mn-cs"/>
              </a:defRPr>
            </a:pPr>
            <a:r>
              <a:rPr lang="en-US" sz="1000" b="1"/>
              <a:t>Customer Product Type Stickness (Unit: k)</a:t>
            </a:r>
          </a:p>
        </c:rich>
      </c:tx>
      <c:layout>
        <c:manualLayout>
          <c:xMode val="edge"/>
          <c:yMode val="edge"/>
          <c:x val="7.2842847003514025E-2"/>
          <c:y val="3.3562104432617632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Retailer A</c:v>
                </c:pt>
              </c:strCache>
            </c:strRef>
          </c:tx>
          <c:spPr>
            <a:solidFill>
              <a:srgbClr val="C8C1F6"/>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urable Goods</c:v>
                </c:pt>
                <c:pt idx="1">
                  <c:v>Fast-moving Goods</c:v>
                </c:pt>
                <c:pt idx="2">
                  <c:v>Goods</c:v>
                </c:pt>
              </c:strCache>
            </c:strRef>
          </c:cat>
          <c:val>
            <c:numRef>
              <c:f>Sheet1!$B$2:$B$4</c:f>
              <c:numCache>
                <c:formatCode>General</c:formatCode>
                <c:ptCount val="3"/>
                <c:pt idx="0">
                  <c:v>14.7</c:v>
                </c:pt>
                <c:pt idx="1">
                  <c:v>13.7</c:v>
                </c:pt>
                <c:pt idx="2">
                  <c:v>2.9</c:v>
                </c:pt>
              </c:numCache>
            </c:numRef>
          </c:val>
          <c:extLst>
            <c:ext xmlns:c16="http://schemas.microsoft.com/office/drawing/2014/chart" uri="{C3380CC4-5D6E-409C-BE32-E72D297353CC}">
              <c16:uniqueId val="{00000000-5ADE-4123-8BA0-76B3F8634312}"/>
            </c:ext>
          </c:extLst>
        </c:ser>
        <c:ser>
          <c:idx val="1"/>
          <c:order val="1"/>
          <c:tx>
            <c:v/>
          </c:tx>
          <c:spPr>
            <a:noFill/>
            <a:ln>
              <a:noFill/>
            </a:ln>
            <a:effectLst/>
          </c:spPr>
          <c:invertIfNegative val="0"/>
          <c:cat>
            <c:strRef>
              <c:f>Sheet1!$A$2:$A$4</c:f>
              <c:strCache>
                <c:ptCount val="3"/>
                <c:pt idx="0">
                  <c:v>Durable Goods</c:v>
                </c:pt>
                <c:pt idx="1">
                  <c:v>Fast-moving Goods</c:v>
                </c:pt>
                <c:pt idx="2">
                  <c:v>Goods</c:v>
                </c:pt>
              </c:strCache>
            </c:strRef>
          </c:cat>
          <c:val>
            <c:numRef>
              <c:f>Sheet1!$C$2:$C$4</c:f>
              <c:numCache>
                <c:formatCode>General</c:formatCode>
                <c:ptCount val="3"/>
                <c:pt idx="0">
                  <c:v>75.3</c:v>
                </c:pt>
                <c:pt idx="1">
                  <c:v>76.3</c:v>
                </c:pt>
                <c:pt idx="2">
                  <c:v>87.1</c:v>
                </c:pt>
              </c:numCache>
            </c:numRef>
          </c:val>
          <c:extLst>
            <c:ext xmlns:c16="http://schemas.microsoft.com/office/drawing/2014/chart" uri="{C3380CC4-5D6E-409C-BE32-E72D297353CC}">
              <c16:uniqueId val="{00000001-5ADE-4123-8BA0-76B3F8634312}"/>
            </c:ext>
          </c:extLst>
        </c:ser>
        <c:ser>
          <c:idx val="2"/>
          <c:order val="2"/>
          <c:tx>
            <c:strRef>
              <c:f>Sheet1!$D$1</c:f>
              <c:strCache>
                <c:ptCount val="1"/>
                <c:pt idx="0">
                  <c:v>Retailer B</c:v>
                </c:pt>
              </c:strCache>
            </c:strRef>
          </c:tx>
          <c:spPr>
            <a:solidFill>
              <a:srgbClr val="A198CB"/>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urable Goods</c:v>
                </c:pt>
                <c:pt idx="1">
                  <c:v>Fast-moving Goods</c:v>
                </c:pt>
                <c:pt idx="2">
                  <c:v>Goods</c:v>
                </c:pt>
              </c:strCache>
            </c:strRef>
          </c:cat>
          <c:val>
            <c:numRef>
              <c:f>Sheet1!$D$2:$D$4</c:f>
              <c:numCache>
                <c:formatCode>General</c:formatCode>
                <c:ptCount val="3"/>
                <c:pt idx="0">
                  <c:v>2</c:v>
                </c:pt>
                <c:pt idx="1">
                  <c:v>1.9</c:v>
                </c:pt>
                <c:pt idx="2">
                  <c:v>0.3</c:v>
                </c:pt>
              </c:numCache>
            </c:numRef>
          </c:val>
          <c:extLst>
            <c:ext xmlns:c16="http://schemas.microsoft.com/office/drawing/2014/chart" uri="{C3380CC4-5D6E-409C-BE32-E72D297353CC}">
              <c16:uniqueId val="{00000002-5ADE-4123-8BA0-76B3F8634312}"/>
            </c:ext>
          </c:extLst>
        </c:ser>
        <c:ser>
          <c:idx val="3"/>
          <c:order val="3"/>
          <c:tx>
            <c:v/>
          </c:tx>
          <c:spPr>
            <a:noFill/>
            <a:ln>
              <a:noFill/>
            </a:ln>
            <a:effectLst/>
          </c:spPr>
          <c:invertIfNegative val="0"/>
          <c:cat>
            <c:strRef>
              <c:f>Sheet1!$A$2:$A$4</c:f>
              <c:strCache>
                <c:ptCount val="3"/>
                <c:pt idx="0">
                  <c:v>Durable Goods</c:v>
                </c:pt>
                <c:pt idx="1">
                  <c:v>Fast-moving Goods</c:v>
                </c:pt>
                <c:pt idx="2">
                  <c:v>Goods</c:v>
                </c:pt>
              </c:strCache>
            </c:strRef>
          </c:cat>
          <c:val>
            <c:numRef>
              <c:f>Sheet1!$E$2:$E$4</c:f>
              <c:numCache>
                <c:formatCode>General</c:formatCode>
                <c:ptCount val="3"/>
                <c:pt idx="0">
                  <c:v>88</c:v>
                </c:pt>
                <c:pt idx="1">
                  <c:v>88.1</c:v>
                </c:pt>
                <c:pt idx="2">
                  <c:v>89.7</c:v>
                </c:pt>
              </c:numCache>
            </c:numRef>
          </c:val>
          <c:extLst>
            <c:ext xmlns:c16="http://schemas.microsoft.com/office/drawing/2014/chart" uri="{C3380CC4-5D6E-409C-BE32-E72D297353CC}">
              <c16:uniqueId val="{00000003-5ADE-4123-8BA0-76B3F8634312}"/>
            </c:ext>
          </c:extLst>
        </c:ser>
        <c:ser>
          <c:idx val="4"/>
          <c:order val="4"/>
          <c:tx>
            <c:strRef>
              <c:f>Sheet1!$F$1</c:f>
              <c:strCache>
                <c:ptCount val="1"/>
                <c:pt idx="0">
                  <c:v>Retailer C</c:v>
                </c:pt>
              </c:strCache>
            </c:strRef>
          </c:tx>
          <c:spPr>
            <a:solidFill>
              <a:srgbClr val="CB96F9"/>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urable Goods</c:v>
                </c:pt>
                <c:pt idx="1">
                  <c:v>Fast-moving Goods</c:v>
                </c:pt>
                <c:pt idx="2">
                  <c:v>Goods</c:v>
                </c:pt>
              </c:strCache>
            </c:strRef>
          </c:cat>
          <c:val>
            <c:numRef>
              <c:f>Sheet1!$F$2:$F$4</c:f>
              <c:numCache>
                <c:formatCode>General</c:formatCode>
                <c:ptCount val="3"/>
                <c:pt idx="0">
                  <c:v>14.9</c:v>
                </c:pt>
                <c:pt idx="1">
                  <c:v>12.9</c:v>
                </c:pt>
                <c:pt idx="2">
                  <c:v>4</c:v>
                </c:pt>
              </c:numCache>
            </c:numRef>
          </c:val>
          <c:extLst>
            <c:ext xmlns:c16="http://schemas.microsoft.com/office/drawing/2014/chart" uri="{C3380CC4-5D6E-409C-BE32-E72D297353CC}">
              <c16:uniqueId val="{00000004-5ADE-4123-8BA0-76B3F8634312}"/>
            </c:ext>
          </c:extLst>
        </c:ser>
        <c:ser>
          <c:idx val="5"/>
          <c:order val="5"/>
          <c:tx>
            <c:v/>
          </c:tx>
          <c:spPr>
            <a:noFill/>
            <a:ln>
              <a:noFill/>
            </a:ln>
            <a:effectLst/>
          </c:spPr>
          <c:invertIfNegative val="0"/>
          <c:cat>
            <c:strRef>
              <c:f>Sheet1!$A$2:$A$4</c:f>
              <c:strCache>
                <c:ptCount val="3"/>
                <c:pt idx="0">
                  <c:v>Durable Goods</c:v>
                </c:pt>
                <c:pt idx="1">
                  <c:v>Fast-moving Goods</c:v>
                </c:pt>
                <c:pt idx="2">
                  <c:v>Goods</c:v>
                </c:pt>
              </c:strCache>
            </c:strRef>
          </c:cat>
          <c:val>
            <c:numRef>
              <c:f>Sheet1!$G$2:$G$4</c:f>
              <c:numCache>
                <c:formatCode>General</c:formatCode>
                <c:ptCount val="3"/>
                <c:pt idx="0">
                  <c:v>75.099999999999994</c:v>
                </c:pt>
                <c:pt idx="1">
                  <c:v>77.099999999999994</c:v>
                </c:pt>
                <c:pt idx="2">
                  <c:v>86</c:v>
                </c:pt>
              </c:numCache>
            </c:numRef>
          </c:val>
          <c:extLst>
            <c:ext xmlns:c16="http://schemas.microsoft.com/office/drawing/2014/chart" uri="{C3380CC4-5D6E-409C-BE32-E72D297353CC}">
              <c16:uniqueId val="{00000005-5ADE-4123-8BA0-76B3F8634312}"/>
            </c:ext>
          </c:extLst>
        </c:ser>
        <c:ser>
          <c:idx val="6"/>
          <c:order val="6"/>
          <c:tx>
            <c:strRef>
              <c:f>Sheet1!$H$1</c:f>
              <c:strCache>
                <c:ptCount val="1"/>
                <c:pt idx="0">
                  <c:v>Retailer D</c:v>
                </c:pt>
              </c:strCache>
            </c:strRef>
          </c:tx>
          <c:spPr>
            <a:solidFill>
              <a:srgbClr val="A84DFC"/>
            </a:solidFill>
            <a:ln>
              <a:noFill/>
            </a:ln>
            <a:effectLst/>
          </c:spPr>
          <c:invertIfNegative val="0"/>
          <c:dLbls>
            <c:dLbl>
              <c:idx val="0"/>
              <c:layout>
                <c:manualLayout>
                  <c:x val="5.3675121827980135E-2"/>
                  <c:y val="1.118739189742130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ADE-4123-8BA0-76B3F8634312}"/>
                </c:ext>
              </c:extLst>
            </c:dLbl>
            <c:dLbl>
              <c:idx val="1"/>
              <c:layout>
                <c:manualLayout>
                  <c:x val="5.37950372111311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ADE-4123-8BA0-76B3F8634312}"/>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urable Goods</c:v>
                </c:pt>
                <c:pt idx="1">
                  <c:v>Fast-moving Goods</c:v>
                </c:pt>
                <c:pt idx="2">
                  <c:v>Goods</c:v>
                </c:pt>
              </c:strCache>
            </c:strRef>
          </c:cat>
          <c:val>
            <c:numRef>
              <c:f>Sheet1!$H$2:$H$4</c:f>
              <c:numCache>
                <c:formatCode>General</c:formatCode>
                <c:ptCount val="3"/>
                <c:pt idx="0">
                  <c:v>30.4</c:v>
                </c:pt>
                <c:pt idx="1">
                  <c:v>25.2</c:v>
                </c:pt>
                <c:pt idx="2">
                  <c:v>6.9</c:v>
                </c:pt>
              </c:numCache>
            </c:numRef>
          </c:val>
          <c:extLst>
            <c:ext xmlns:c16="http://schemas.microsoft.com/office/drawing/2014/chart" uri="{C3380CC4-5D6E-409C-BE32-E72D297353CC}">
              <c16:uniqueId val="{00000008-5ADE-4123-8BA0-76B3F8634312}"/>
            </c:ext>
          </c:extLst>
        </c:ser>
        <c:ser>
          <c:idx val="7"/>
          <c:order val="7"/>
          <c:tx>
            <c:v/>
          </c:tx>
          <c:spPr>
            <a:noFill/>
            <a:ln>
              <a:noFill/>
            </a:ln>
            <a:effectLst/>
          </c:spPr>
          <c:invertIfNegative val="0"/>
          <c:cat>
            <c:strRef>
              <c:f>Sheet1!$A$2:$A$4</c:f>
              <c:strCache>
                <c:ptCount val="3"/>
                <c:pt idx="0">
                  <c:v>Durable Goods</c:v>
                </c:pt>
                <c:pt idx="1">
                  <c:v>Fast-moving Goods</c:v>
                </c:pt>
                <c:pt idx="2">
                  <c:v>Goods</c:v>
                </c:pt>
              </c:strCache>
            </c:strRef>
          </c:cat>
          <c:val>
            <c:numRef>
              <c:f>Sheet1!$I$2:$I$4</c:f>
              <c:numCache>
                <c:formatCode>General</c:formatCode>
                <c:ptCount val="3"/>
                <c:pt idx="0">
                  <c:v>59.6</c:v>
                </c:pt>
                <c:pt idx="1">
                  <c:v>64.8</c:v>
                </c:pt>
                <c:pt idx="2">
                  <c:v>83.1</c:v>
                </c:pt>
              </c:numCache>
            </c:numRef>
          </c:val>
          <c:extLst>
            <c:ext xmlns:c16="http://schemas.microsoft.com/office/drawing/2014/chart" uri="{C3380CC4-5D6E-409C-BE32-E72D297353CC}">
              <c16:uniqueId val="{00000009-5ADE-4123-8BA0-76B3F8634312}"/>
            </c:ext>
          </c:extLst>
        </c:ser>
        <c:ser>
          <c:idx val="8"/>
          <c:order val="8"/>
          <c:tx>
            <c:strRef>
              <c:f>Sheet1!$J$1</c:f>
              <c:strCache>
                <c:ptCount val="1"/>
                <c:pt idx="0">
                  <c:v>Retailer E</c:v>
                </c:pt>
              </c:strCache>
            </c:strRef>
          </c:tx>
          <c:spPr>
            <a:solidFill>
              <a:srgbClr val="8112F2"/>
            </a:solidFill>
            <a:ln>
              <a:noFill/>
            </a:ln>
            <a:effectLst/>
          </c:spPr>
          <c:invertIfNegative val="0"/>
          <c:dLbls>
            <c:spPr>
              <a:noFill/>
              <a:ln w="25400">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urable Goods</c:v>
                </c:pt>
                <c:pt idx="1">
                  <c:v>Fast-moving Goods</c:v>
                </c:pt>
                <c:pt idx="2">
                  <c:v>Goods</c:v>
                </c:pt>
              </c:strCache>
            </c:strRef>
          </c:cat>
          <c:val>
            <c:numRef>
              <c:f>Sheet1!$J$2:$J$4</c:f>
              <c:numCache>
                <c:formatCode>General</c:formatCode>
                <c:ptCount val="3"/>
                <c:pt idx="0">
                  <c:v>83.3</c:v>
                </c:pt>
                <c:pt idx="1">
                  <c:v>79.099999999999994</c:v>
                </c:pt>
                <c:pt idx="2">
                  <c:v>9</c:v>
                </c:pt>
              </c:numCache>
            </c:numRef>
          </c:val>
          <c:extLst>
            <c:ext xmlns:c16="http://schemas.microsoft.com/office/drawing/2014/chart" uri="{C3380CC4-5D6E-409C-BE32-E72D297353CC}">
              <c16:uniqueId val="{0000000A-5ADE-4123-8BA0-76B3F8634312}"/>
            </c:ext>
          </c:extLst>
        </c:ser>
        <c:ser>
          <c:idx val="9"/>
          <c:order val="9"/>
          <c:tx>
            <c:v/>
          </c:tx>
          <c:spPr>
            <a:noFill/>
            <a:ln>
              <a:noFill/>
            </a:ln>
            <a:effectLst/>
          </c:spPr>
          <c:invertIfNegative val="0"/>
          <c:cat>
            <c:strRef>
              <c:f>Sheet1!$A$2:$A$4</c:f>
              <c:strCache>
                <c:ptCount val="3"/>
                <c:pt idx="0">
                  <c:v>Durable Goods</c:v>
                </c:pt>
                <c:pt idx="1">
                  <c:v>Fast-moving Goods</c:v>
                </c:pt>
                <c:pt idx="2">
                  <c:v>Goods</c:v>
                </c:pt>
              </c:strCache>
            </c:strRef>
          </c:cat>
          <c:val>
            <c:numRef>
              <c:f>Sheet1!$K$2:$K$4</c:f>
              <c:numCache>
                <c:formatCode>General</c:formatCode>
                <c:ptCount val="3"/>
                <c:pt idx="0">
                  <c:v>6.7000000000000028</c:v>
                </c:pt>
                <c:pt idx="1">
                  <c:v>10.900000000000006</c:v>
                </c:pt>
                <c:pt idx="2">
                  <c:v>81</c:v>
                </c:pt>
              </c:numCache>
            </c:numRef>
          </c:val>
          <c:extLst>
            <c:ext xmlns:c16="http://schemas.microsoft.com/office/drawing/2014/chart" uri="{C3380CC4-5D6E-409C-BE32-E72D297353CC}">
              <c16:uniqueId val="{0000000B-5ADE-4123-8BA0-76B3F8634312}"/>
            </c:ext>
          </c:extLst>
        </c:ser>
        <c:dLbls>
          <c:showLegendKey val="0"/>
          <c:showVal val="0"/>
          <c:showCatName val="0"/>
          <c:showSerName val="0"/>
          <c:showPercent val="0"/>
          <c:showBubbleSize val="0"/>
        </c:dLbls>
        <c:gapWidth val="70"/>
        <c:overlap val="100"/>
        <c:axId val="21293184"/>
        <c:axId val="21299424"/>
      </c:barChart>
      <c:catAx>
        <c:axId val="212931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299424"/>
        <c:crosses val="autoZero"/>
        <c:auto val="1"/>
        <c:lblAlgn val="ctr"/>
        <c:lblOffset val="100"/>
        <c:noMultiLvlLbl val="0"/>
      </c:catAx>
      <c:valAx>
        <c:axId val="2129942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1293184"/>
        <c:crosses val="autoZero"/>
        <c:crossBetween val="between"/>
        <c:majorUnit val="0.1"/>
      </c:valAx>
      <c:spPr>
        <a:noFill/>
        <a:ln>
          <a:noFill/>
        </a:ln>
        <a:effectLst/>
      </c:spPr>
    </c:plotArea>
    <c:legend>
      <c:legendPos val="b"/>
      <c:layout>
        <c:manualLayout>
          <c:xMode val="edge"/>
          <c:yMode val="edge"/>
          <c:x val="0"/>
          <c:y val="0.84546779563003971"/>
          <c:w val="1"/>
          <c:h val="9.54465112734995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solidFill>
            <a:schemeClr val="tx1"/>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044619422572178"/>
          <c:y val="0.15547703180212014"/>
          <c:w val="0.63976377952755903"/>
          <c:h val="0.68904593639575973"/>
        </c:manualLayout>
      </c:layout>
      <c:pieChart>
        <c:varyColors val="0"/>
        <c:ser>
          <c:idx val="0"/>
          <c:order val="0"/>
          <c:dPt>
            <c:idx val="0"/>
            <c:bubble3D val="0"/>
            <c:spPr>
              <a:solidFill>
                <a:srgbClr val="D2D2D2"/>
              </a:solidFill>
              <a:ln w="9525" cmpd="sng" algn="ctr">
                <a:solidFill>
                  <a:srgbClr val="FFFFFF"/>
                </a:solidFill>
                <a:prstDash val="solid"/>
              </a:ln>
            </c:spPr>
            <c:extLst>
              <c:ext xmlns:c16="http://schemas.microsoft.com/office/drawing/2014/chart" uri="{C3380CC4-5D6E-409C-BE32-E72D297353CC}">
                <c16:uniqueId val="{00000000-4735-4D98-BA2A-9901024F0D00}"/>
              </c:ext>
            </c:extLst>
          </c:dPt>
          <c:dPt>
            <c:idx val="1"/>
            <c:bubble3D val="0"/>
            <c:spPr>
              <a:solidFill>
                <a:srgbClr val="A5A5A5"/>
              </a:solidFill>
              <a:ln w="9525" cmpd="sng" algn="ctr">
                <a:solidFill>
                  <a:srgbClr val="FFFFFF"/>
                </a:solidFill>
                <a:prstDash val="solid"/>
              </a:ln>
            </c:spPr>
            <c:extLst>
              <c:ext xmlns:c16="http://schemas.microsoft.com/office/drawing/2014/chart" uri="{C3380CC4-5D6E-409C-BE32-E72D297353CC}">
                <c16:uniqueId val="{00000001-4735-4D98-BA2A-9901024F0D00}"/>
              </c:ext>
            </c:extLst>
          </c:dPt>
          <c:dPt>
            <c:idx val="2"/>
            <c:bubble3D val="0"/>
            <c:spPr>
              <a:solidFill>
                <a:srgbClr val="787878"/>
              </a:solidFill>
              <a:ln w="9525" cmpd="sng" algn="ctr">
                <a:solidFill>
                  <a:srgbClr val="FFFFFF"/>
                </a:solidFill>
                <a:prstDash val="solid"/>
              </a:ln>
            </c:spPr>
            <c:extLst>
              <c:ext xmlns:c16="http://schemas.microsoft.com/office/drawing/2014/chart" uri="{C3380CC4-5D6E-409C-BE32-E72D297353CC}">
                <c16:uniqueId val="{00000002-4735-4D98-BA2A-9901024F0D00}"/>
              </c:ext>
            </c:extLst>
          </c:dPt>
          <c:dPt>
            <c:idx val="3"/>
            <c:bubble3D val="0"/>
            <c:spPr>
              <a:solidFill>
                <a:srgbClr val="E6D2FA"/>
              </a:solidFill>
              <a:ln w="9525" cmpd="sng" algn="ctr">
                <a:solidFill>
                  <a:srgbClr val="FFFFFF"/>
                </a:solidFill>
                <a:prstDash val="solid"/>
              </a:ln>
            </c:spPr>
            <c:extLst>
              <c:ext xmlns:c16="http://schemas.microsoft.com/office/drawing/2014/chart" uri="{C3380CC4-5D6E-409C-BE32-E72D297353CC}">
                <c16:uniqueId val="{00000003-4735-4D98-BA2A-9901024F0D00}"/>
              </c:ext>
            </c:extLst>
          </c:dPt>
          <c:dPt>
            <c:idx val="4"/>
            <c:bubble3D val="0"/>
            <c:spPr>
              <a:solidFill>
                <a:srgbClr val="C8A5F0"/>
              </a:solidFill>
              <a:ln w="9525" cmpd="sng" algn="ctr">
                <a:solidFill>
                  <a:srgbClr val="FFFFFF"/>
                </a:solidFill>
                <a:prstDash val="solid"/>
              </a:ln>
            </c:spPr>
            <c:extLst>
              <c:ext xmlns:c16="http://schemas.microsoft.com/office/drawing/2014/chart" uri="{C3380CC4-5D6E-409C-BE32-E72D297353CC}">
                <c16:uniqueId val="{00000004-4735-4D98-BA2A-9901024F0D00}"/>
              </c:ext>
            </c:extLst>
          </c:dPt>
          <c:dLbls>
            <c:dLbl>
              <c:idx val="0"/>
              <c:layout>
                <c:manualLayout>
                  <c:x val="7.9396325459317588E-2"/>
                  <c:y val="2.2614840989399292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35-4D98-BA2A-9901024F0D00}"/>
                </c:ext>
              </c:extLst>
            </c:dLbl>
            <c:dLbl>
              <c:idx val="1"/>
              <c:layout>
                <c:manualLayout>
                  <c:x val="-6.8241469816272965E-2"/>
                  <c:y val="7.1378091872791524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35-4D98-BA2A-9901024F0D00}"/>
                </c:ext>
              </c:extLst>
            </c:dLbl>
            <c:dLbl>
              <c:idx val="2"/>
              <c:layout>
                <c:manualLayout>
                  <c:x val="-8.3989501312335957E-2"/>
                  <c:y val="1.8374558303886925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35-4D98-BA2A-9901024F0D00}"/>
                </c:ext>
              </c:extLst>
            </c:dLbl>
            <c:dLbl>
              <c:idx val="3"/>
              <c:layout>
                <c:manualLayout>
                  <c:x val="-5.774278215223097E-2"/>
                  <c:y val="-6.8551236749116604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35-4D98-BA2A-9901024F0D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59</c:v>
                </c:pt>
                <c:pt idx="1">
                  <c:v>7.0000000000000009</c:v>
                </c:pt>
                <c:pt idx="2">
                  <c:v>11</c:v>
                </c:pt>
                <c:pt idx="3">
                  <c:v>22</c:v>
                </c:pt>
                <c:pt idx="4">
                  <c:v>1</c:v>
                </c:pt>
              </c:numCache>
            </c:numRef>
          </c:val>
          <c:extLst>
            <c:ext xmlns:c16="http://schemas.microsoft.com/office/drawing/2014/chart" uri="{C3380CC4-5D6E-409C-BE32-E72D297353CC}">
              <c16:uniqueId val="{00000005-4735-4D98-BA2A-9901024F0D0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044619422572178"/>
          <c:y val="0.15547703180212014"/>
          <c:w val="0.63976377952755903"/>
          <c:h val="0.68904593639575973"/>
        </c:manualLayout>
      </c:layout>
      <c:pieChart>
        <c:varyColors val="0"/>
        <c:ser>
          <c:idx val="0"/>
          <c:order val="0"/>
          <c:dPt>
            <c:idx val="0"/>
            <c:bubble3D val="0"/>
            <c:spPr>
              <a:solidFill>
                <a:srgbClr val="D2D2D2"/>
              </a:solidFill>
              <a:ln w="9525" cmpd="sng" algn="ctr">
                <a:solidFill>
                  <a:srgbClr val="FFFFFF"/>
                </a:solidFill>
                <a:prstDash val="solid"/>
              </a:ln>
            </c:spPr>
            <c:extLst>
              <c:ext xmlns:c16="http://schemas.microsoft.com/office/drawing/2014/chart" uri="{C3380CC4-5D6E-409C-BE32-E72D297353CC}">
                <c16:uniqueId val="{00000000-6D58-4DCD-82E8-30038C1EBEAC}"/>
              </c:ext>
            </c:extLst>
          </c:dPt>
          <c:dPt>
            <c:idx val="1"/>
            <c:bubble3D val="0"/>
            <c:spPr>
              <a:solidFill>
                <a:srgbClr val="A5A5A5"/>
              </a:solidFill>
              <a:ln w="9525" cmpd="sng" algn="ctr">
                <a:solidFill>
                  <a:srgbClr val="FFFFFF"/>
                </a:solidFill>
                <a:prstDash val="solid"/>
              </a:ln>
            </c:spPr>
            <c:extLst>
              <c:ext xmlns:c16="http://schemas.microsoft.com/office/drawing/2014/chart" uri="{C3380CC4-5D6E-409C-BE32-E72D297353CC}">
                <c16:uniqueId val="{00000001-6D58-4DCD-82E8-30038C1EBEAC}"/>
              </c:ext>
            </c:extLst>
          </c:dPt>
          <c:dPt>
            <c:idx val="2"/>
            <c:bubble3D val="0"/>
            <c:spPr>
              <a:solidFill>
                <a:srgbClr val="787878"/>
              </a:solidFill>
              <a:ln w="9525" cmpd="sng" algn="ctr">
                <a:solidFill>
                  <a:srgbClr val="FFFFFF"/>
                </a:solidFill>
                <a:prstDash val="solid"/>
              </a:ln>
            </c:spPr>
            <c:extLst>
              <c:ext xmlns:c16="http://schemas.microsoft.com/office/drawing/2014/chart" uri="{C3380CC4-5D6E-409C-BE32-E72D297353CC}">
                <c16:uniqueId val="{00000002-6D58-4DCD-82E8-30038C1EBEAC}"/>
              </c:ext>
            </c:extLst>
          </c:dPt>
          <c:dPt>
            <c:idx val="3"/>
            <c:bubble3D val="0"/>
            <c:spPr>
              <a:solidFill>
                <a:srgbClr val="E6D2FA"/>
              </a:solidFill>
              <a:ln w="9525" cmpd="sng" algn="ctr">
                <a:solidFill>
                  <a:srgbClr val="FFFFFF"/>
                </a:solidFill>
                <a:prstDash val="solid"/>
              </a:ln>
            </c:spPr>
            <c:extLst>
              <c:ext xmlns:c16="http://schemas.microsoft.com/office/drawing/2014/chart" uri="{C3380CC4-5D6E-409C-BE32-E72D297353CC}">
                <c16:uniqueId val="{00000003-6D58-4DCD-82E8-30038C1EBEAC}"/>
              </c:ext>
            </c:extLst>
          </c:dPt>
          <c:dPt>
            <c:idx val="4"/>
            <c:bubble3D val="0"/>
            <c:spPr>
              <a:solidFill>
                <a:srgbClr val="C8A5F0"/>
              </a:solidFill>
              <a:ln w="9525" cmpd="sng" algn="ctr">
                <a:solidFill>
                  <a:srgbClr val="FFFFFF"/>
                </a:solidFill>
                <a:prstDash val="solid"/>
              </a:ln>
            </c:spPr>
            <c:extLst>
              <c:ext xmlns:c16="http://schemas.microsoft.com/office/drawing/2014/chart" uri="{C3380CC4-5D6E-409C-BE32-E72D297353CC}">
                <c16:uniqueId val="{00000004-6D58-4DCD-82E8-30038C1EBEAC}"/>
              </c:ext>
            </c:extLst>
          </c:dPt>
          <c:dLbls>
            <c:dLbl>
              <c:idx val="0"/>
              <c:layout>
                <c:manualLayout>
                  <c:x val="7.6115485564304461E-2"/>
                  <c:y val="3.03886925795053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58-4DCD-82E8-30038C1EBEAC}"/>
                </c:ext>
              </c:extLst>
            </c:dLbl>
            <c:dLbl>
              <c:idx val="2"/>
              <c:layout>
                <c:manualLayout>
                  <c:x val="-8.7926509186351712E-2"/>
                  <c:y val="-4.946996466431095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58-4DCD-82E8-30038C1EBEAC}"/>
                </c:ext>
              </c:extLst>
            </c:dLbl>
            <c:dLbl>
              <c:idx val="3"/>
              <c:layout>
                <c:manualLayout>
                  <c:x val="-3.7401574803149609E-2"/>
                  <c:y val="-9.611307420494699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58-4DCD-82E8-30038C1EBE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62</c:v>
                </c:pt>
                <c:pt idx="1">
                  <c:v>1</c:v>
                </c:pt>
                <c:pt idx="2">
                  <c:v>25</c:v>
                </c:pt>
                <c:pt idx="3">
                  <c:v>11</c:v>
                </c:pt>
                <c:pt idx="4">
                  <c:v>1</c:v>
                </c:pt>
              </c:numCache>
            </c:numRef>
          </c:val>
          <c:extLst>
            <c:ext xmlns:c16="http://schemas.microsoft.com/office/drawing/2014/chart" uri="{C3380CC4-5D6E-409C-BE32-E72D297353CC}">
              <c16:uniqueId val="{00000005-6D58-4DCD-82E8-30038C1EBEA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spc="0" baseline="0">
                <a:solidFill>
                  <a:schemeClr val="tx1">
                    <a:lumMod val="65000"/>
                    <a:lumOff val="35000"/>
                  </a:schemeClr>
                </a:solidFill>
                <a:latin typeface="Arial"/>
                <a:ea typeface="Arial"/>
                <a:cs typeface="Arial"/>
              </a:defRPr>
            </a:pPr>
            <a:r>
              <a:rPr lang="en-US"/>
              <a:t>Profit</a:t>
            </a:r>
          </a:p>
        </c:rich>
      </c:tx>
      <c:layout>
        <c:manualLayout>
          <c:xMode val="edge"/>
          <c:yMode val="edge"/>
          <c:x val="0.44040481733703968"/>
          <c:y val="2.477506615775299E-2"/>
        </c:manualLayout>
      </c:layout>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Arial"/>
              <a:ea typeface="Arial"/>
              <a:cs typeface="Arial"/>
            </a:defRPr>
          </a:pPr>
          <a:endParaRPr lang="zh-TW"/>
        </a:p>
      </c:txPr>
    </c:title>
    <c:autoTitleDeleted val="0"/>
    <c:plotArea>
      <c:layout/>
      <c:barChart>
        <c:barDir val="bar"/>
        <c:grouping val="clustered"/>
        <c:varyColors val="0"/>
        <c:ser>
          <c:idx val="0"/>
          <c:order val="0"/>
          <c:tx>
            <c:strRef>
              <c:f>Sheet1!$B$1</c:f>
              <c:strCache>
                <c:ptCount val="1"/>
                <c:pt idx="0">
                  <c:v>Customer Contribution 2023</c:v>
                </c:pt>
              </c:strCache>
            </c:strRef>
          </c:tx>
          <c:spPr>
            <a:solidFill>
              <a:srgbClr val="DE94F0"/>
            </a:solidFill>
            <a:ln>
              <a:solidFill>
                <a:srgbClr val="FFFFFF"/>
              </a:solidFill>
              <a:prstDash val="solid"/>
            </a:ln>
            <a:effectLst/>
          </c:spPr>
          <c:invertIfNegative val="0"/>
          <c:cat>
            <c:strRef>
              <c:f>Sheet1!$A$2:$A$5</c:f>
              <c:strCache>
                <c:ptCount val="3"/>
                <c:pt idx="0">
                  <c:v>Durable Goods</c:v>
                </c:pt>
                <c:pt idx="1">
                  <c:v>Fast-moving Goods</c:v>
                </c:pt>
                <c:pt idx="2">
                  <c:v>Goods</c:v>
                </c:pt>
              </c:strCache>
            </c:strRef>
          </c:cat>
          <c:val>
            <c:numRef>
              <c:f>Sheet1!$B$2:$B$5</c:f>
              <c:numCache>
                <c:formatCode>0%</c:formatCode>
                <c:ptCount val="4"/>
                <c:pt idx="0">
                  <c:v>0.23</c:v>
                </c:pt>
                <c:pt idx="1">
                  <c:v>0.78</c:v>
                </c:pt>
                <c:pt idx="2">
                  <c:v>-0.01</c:v>
                </c:pt>
              </c:numCache>
            </c:numRef>
          </c:val>
          <c:extLst>
            <c:ext xmlns:c16="http://schemas.microsoft.com/office/drawing/2014/chart" uri="{C3380CC4-5D6E-409C-BE32-E72D297353CC}">
              <c16:uniqueId val="{00000000-6214-4818-A705-F5E93F78124A}"/>
            </c:ext>
          </c:extLst>
        </c:ser>
        <c:ser>
          <c:idx val="1"/>
          <c:order val="1"/>
          <c:tx>
            <c:strRef>
              <c:f>Sheet1!$C$1</c:f>
              <c:strCache>
                <c:ptCount val="1"/>
                <c:pt idx="0">
                  <c:v>Customer Contribution 2024</c:v>
                </c:pt>
              </c:strCache>
            </c:strRef>
          </c:tx>
          <c:spPr>
            <a:solidFill>
              <a:srgbClr val="B45DE4"/>
            </a:solidFill>
            <a:ln>
              <a:noFill/>
            </a:ln>
            <a:effectLst/>
          </c:spPr>
          <c:invertIfNegative val="0"/>
          <c:cat>
            <c:strRef>
              <c:f>Sheet1!$A$2:$A$5</c:f>
              <c:strCache>
                <c:ptCount val="3"/>
                <c:pt idx="0">
                  <c:v>Durable Goods</c:v>
                </c:pt>
                <c:pt idx="1">
                  <c:v>Fast-moving Goods</c:v>
                </c:pt>
                <c:pt idx="2">
                  <c:v>Goods</c:v>
                </c:pt>
              </c:strCache>
            </c:strRef>
          </c:cat>
          <c:val>
            <c:numRef>
              <c:f>Sheet1!$C$2:$C$5</c:f>
              <c:numCache>
                <c:formatCode>0%</c:formatCode>
                <c:ptCount val="4"/>
                <c:pt idx="0">
                  <c:v>0.26</c:v>
                </c:pt>
                <c:pt idx="1">
                  <c:v>0.7</c:v>
                </c:pt>
                <c:pt idx="2" formatCode="0.00%">
                  <c:v>3.7400000000000003E-2</c:v>
                </c:pt>
              </c:numCache>
            </c:numRef>
          </c:val>
          <c:extLst>
            <c:ext xmlns:c16="http://schemas.microsoft.com/office/drawing/2014/chart" uri="{C3380CC4-5D6E-409C-BE32-E72D297353CC}">
              <c16:uniqueId val="{00000001-6214-4818-A705-F5E93F78124A}"/>
            </c:ext>
          </c:extLst>
        </c:ser>
        <c:ser>
          <c:idx val="2"/>
          <c:order val="2"/>
          <c:tx>
            <c:strRef>
              <c:f>Sheet1!$D$1</c:f>
              <c:strCache>
                <c:ptCount val="1"/>
              </c:strCache>
            </c:strRef>
          </c:tx>
          <c:spPr>
            <a:solidFill>
              <a:schemeClr val="accent3"/>
            </a:solidFill>
            <a:ln>
              <a:noFill/>
            </a:ln>
            <a:effectLst/>
          </c:spPr>
          <c:invertIfNegative val="0"/>
          <c:cat>
            <c:strRef>
              <c:f>Sheet1!$A$2:$A$5</c:f>
              <c:strCache>
                <c:ptCount val="3"/>
                <c:pt idx="0">
                  <c:v>Durable Goods</c:v>
                </c:pt>
                <c:pt idx="1">
                  <c:v>Fast-moving Goods</c:v>
                </c:pt>
                <c:pt idx="2">
                  <c:v>Goods</c:v>
                </c:pt>
              </c:strCache>
            </c:strRef>
          </c:cat>
          <c:val>
            <c:numRef>
              <c:f>Sheet1!$D$2:$D$5</c:f>
              <c:numCache>
                <c:formatCode>General</c:formatCode>
                <c:ptCount val="4"/>
              </c:numCache>
            </c:numRef>
          </c:val>
          <c:extLst>
            <c:ext xmlns:c16="http://schemas.microsoft.com/office/drawing/2014/chart" uri="{C3380CC4-5D6E-409C-BE32-E72D297353CC}">
              <c16:uniqueId val="{00000002-6214-4818-A705-F5E93F78124A}"/>
            </c:ext>
          </c:extLst>
        </c:ser>
        <c:dLbls>
          <c:showLegendKey val="0"/>
          <c:showVal val="0"/>
          <c:showCatName val="0"/>
          <c:showSerName val="0"/>
          <c:showPercent val="0"/>
          <c:showBubbleSize val="0"/>
        </c:dLbls>
        <c:gapWidth val="182"/>
        <c:axId val="361216095"/>
        <c:axId val="361216575"/>
      </c:barChart>
      <c:catAx>
        <c:axId val="361216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crossAx val="361216575"/>
        <c:crosses val="autoZero"/>
        <c:auto val="1"/>
        <c:lblAlgn val="ctr"/>
        <c:lblOffset val="100"/>
        <c:noMultiLvlLbl val="0"/>
      </c:catAx>
      <c:valAx>
        <c:axId val="361216575"/>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crossAx val="361216095"/>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showDLblsOverMax val="0"/>
  </c:chart>
  <c:spPr>
    <a:noFill/>
    <a:ln>
      <a:noFill/>
    </a:ln>
    <a:effectLst/>
  </c:spPr>
  <c:txPr>
    <a:bodyPr/>
    <a:lstStyle/>
    <a:p>
      <a:pPr>
        <a:defRPr/>
      </a:pPr>
      <a:endParaRPr lang="zh-TW"/>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Target Market — SPB Share vs. Total (23 -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TW"/>
        </a:p>
      </c:txPr>
    </c:title>
    <c:autoTitleDeleted val="0"/>
    <c:plotArea>
      <c:layout/>
      <c:pieChart>
        <c:varyColors val="1"/>
        <c:ser>
          <c:idx val="0"/>
          <c:order val="0"/>
          <c:tx>
            <c:strRef>
              <c:f>Sheet1!$B$1</c:f>
              <c:strCache>
                <c:ptCount val="1"/>
                <c:pt idx="0">
                  <c:v>Percentage</c:v>
                </c:pt>
              </c:strCache>
            </c:strRef>
          </c:tx>
          <c:dPt>
            <c:idx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1-92AD-46EF-8263-EA9DE898E7E9}"/>
              </c:ext>
            </c:extLst>
          </c:dPt>
          <c:dPt>
            <c:idx val="1"/>
            <c:bubble3D val="0"/>
            <c:spPr>
              <a:solidFill>
                <a:srgbClr val="B45DE4"/>
              </a:solidFill>
              <a:ln w="25400">
                <a:noFill/>
              </a:ln>
              <a:effectLst/>
            </c:spPr>
            <c:extLst>
              <c:ext xmlns:c16="http://schemas.microsoft.com/office/drawing/2014/chart" uri="{C3380CC4-5D6E-409C-BE32-E72D297353CC}">
                <c16:uniqueId val="{00000003-92AD-46EF-8263-EA9DE898E7E9}"/>
              </c:ext>
            </c:extLst>
          </c:dPt>
          <c:dPt>
            <c:idx val="2"/>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5-92AD-46EF-8263-EA9DE898E7E9}"/>
              </c:ext>
            </c:extLst>
          </c:dPt>
          <c:dPt>
            <c:idx val="3"/>
            <c:bubble3D val="0"/>
            <c:spPr>
              <a:solidFill>
                <a:srgbClr val="DE94F0"/>
              </a:solidFill>
              <a:ln w="19050">
                <a:solidFill>
                  <a:schemeClr val="lt1"/>
                </a:solidFill>
              </a:ln>
              <a:effectLst/>
            </c:spPr>
            <c:extLst>
              <c:ext xmlns:c16="http://schemas.microsoft.com/office/drawing/2014/chart" uri="{C3380CC4-5D6E-409C-BE32-E72D297353CC}">
                <c16:uniqueId val="{00000007-92AD-46EF-8263-EA9DE898E7E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0000"/>
                    </a:solidFill>
                    <a:latin typeface="+mn-lt"/>
                    <a:ea typeface="+mn-ea"/>
                    <a:cs typeface="+mn-cs"/>
                  </a:defRPr>
                </a:pPr>
                <a:endParaRPr lang="zh-TW"/>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2023 SPB</c:v>
                </c:pt>
                <c:pt idx="1">
                  <c:v>2023 Others</c:v>
                </c:pt>
                <c:pt idx="2">
                  <c:v>2024 SPB</c:v>
                </c:pt>
                <c:pt idx="3">
                  <c:v>2024 Others</c:v>
                </c:pt>
              </c:strCache>
            </c:strRef>
          </c:cat>
          <c:val>
            <c:numRef>
              <c:f>Sheet1!$B$2:$B$5</c:f>
              <c:numCache>
                <c:formatCode>0.00%</c:formatCode>
                <c:ptCount val="4"/>
                <c:pt idx="0">
                  <c:v>0.17299999999999999</c:v>
                </c:pt>
                <c:pt idx="1">
                  <c:v>0.82699999999999996</c:v>
                </c:pt>
                <c:pt idx="2">
                  <c:v>0.16300000000000001</c:v>
                </c:pt>
                <c:pt idx="3">
                  <c:v>0.83699999999999997</c:v>
                </c:pt>
              </c:numCache>
            </c:numRef>
          </c:val>
          <c:extLst>
            <c:ext xmlns:c16="http://schemas.microsoft.com/office/drawing/2014/chart" uri="{C3380CC4-5D6E-409C-BE32-E72D297353CC}">
              <c16:uniqueId val="{00000008-92AD-46EF-8263-EA9DE898E7E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TW"/>
        </a:p>
      </c:txPr>
    </c:legend>
    <c:plotVisOnly val="1"/>
    <c:dispBlanksAs val="gap"/>
    <c:showDLblsOverMax val="0"/>
  </c:chart>
  <c:spPr>
    <a:noFill/>
    <a:ln>
      <a:noFill/>
    </a:ln>
    <a:effectLst/>
  </c:spPr>
  <c:txPr>
    <a:bodyPr/>
    <a:lstStyle/>
    <a:p>
      <a:pPr>
        <a:defRPr/>
      </a:pPr>
      <a:endParaRPr lang="zh-TW"/>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Projected Customer Contribution – Cumulative</a:t>
            </a:r>
          </a:p>
        </c:rich>
      </c:tx>
      <c:overlay val="1"/>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zh-TW"/>
        </a:p>
      </c:txPr>
    </c:title>
    <c:autoTitleDeleted val="0"/>
    <c:plotArea>
      <c:layout/>
      <c:lineChart>
        <c:grouping val="standard"/>
        <c:varyColors val="0"/>
        <c:ser>
          <c:idx val="0"/>
          <c:order val="0"/>
          <c:tx>
            <c:strRef>
              <c:f>Sheet1!$B$1</c:f>
              <c:strCache>
                <c:ptCount val="1"/>
                <c:pt idx="0">
                  <c:v>Projected Customer Contribution - Cummulative</c:v>
                </c:pt>
              </c:strCache>
            </c:strRef>
          </c:tx>
          <c:spPr>
            <a:ln w="28575" cap="rnd">
              <a:solidFill>
                <a:schemeClr val="accent4">
                  <a:lumMod val="10000"/>
                </a:schemeClr>
              </a:solidFill>
              <a:round/>
            </a:ln>
            <a:effectLst/>
          </c:spPr>
          <c:marker>
            <c:symbol val="none"/>
          </c:marker>
          <c:cat>
            <c:numRef>
              <c:f>Sheet1!$A$2:$A$13</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Sheet1!$B$2:$B$13</c:f>
              <c:numCache>
                <c:formatCode>General</c:formatCode>
                <c:ptCount val="12"/>
                <c:pt idx="0">
                  <c:v>9550.0547141609786</c:v>
                </c:pt>
                <c:pt idx="1">
                  <c:v>20055.114899738059</c:v>
                </c:pt>
                <c:pt idx="2">
                  <c:v>31610.681103872841</c:v>
                </c:pt>
                <c:pt idx="3">
                  <c:v>44321.803928421105</c:v>
                </c:pt>
                <c:pt idx="4">
                  <c:v>58304.039035424197</c:v>
                </c:pt>
                <c:pt idx="5">
                  <c:v>73684.49765312759</c:v>
                </c:pt>
                <c:pt idx="6">
                  <c:v>90603.002132601323</c:v>
                </c:pt>
                <c:pt idx="7">
                  <c:v>109213.35706002243</c:v>
                </c:pt>
                <c:pt idx="8">
                  <c:v>129684.74748018566</c:v>
                </c:pt>
                <c:pt idx="9">
                  <c:v>152203.27694236522</c:v>
                </c:pt>
                <c:pt idx="10">
                  <c:v>176973.65935076273</c:v>
                </c:pt>
                <c:pt idx="11">
                  <c:v>204221.08</c:v>
                </c:pt>
              </c:numCache>
            </c:numRef>
          </c:val>
          <c:smooth val="0"/>
          <c:extLst>
            <c:ext xmlns:c16="http://schemas.microsoft.com/office/drawing/2014/chart" uri="{C3380CC4-5D6E-409C-BE32-E72D297353CC}">
              <c16:uniqueId val="{00000000-C9DC-FF46-B0FD-386EAD3A963B}"/>
            </c:ext>
          </c:extLst>
        </c:ser>
        <c:ser>
          <c:idx val="1"/>
          <c:order val="1"/>
          <c:tx>
            <c:strRef>
              <c:f>Sheet1!$C$1</c:f>
              <c:strCache>
                <c:ptCount val="1"/>
                <c:pt idx="0">
                  <c:v>Historical Customer Contribution Cumulative</c:v>
                </c:pt>
              </c:strCache>
            </c:strRef>
          </c:tx>
          <c:spPr>
            <a:ln w="28575" cap="rnd">
              <a:solidFill>
                <a:schemeClr val="accent2"/>
              </a:solidFill>
              <a:round/>
            </a:ln>
            <a:effectLst/>
          </c:spPr>
          <c:marker>
            <c:symbol val="none"/>
          </c:marker>
          <c:cat>
            <c:numRef>
              <c:f>Sheet1!$A$2:$A$13</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Sheet1!$C$2:$C$13</c:f>
              <c:numCache>
                <c:formatCode>General</c:formatCode>
                <c:ptCount val="12"/>
                <c:pt idx="0">
                  <c:v>21273.029166666667</c:v>
                </c:pt>
                <c:pt idx="1">
                  <c:v>42546.058333333334</c:v>
                </c:pt>
                <c:pt idx="2">
                  <c:v>63819.087500000001</c:v>
                </c:pt>
                <c:pt idx="3">
                  <c:v>85092.116666666669</c:v>
                </c:pt>
                <c:pt idx="4">
                  <c:v>106365.14583333334</c:v>
                </c:pt>
                <c:pt idx="5">
                  <c:v>127638.17500000002</c:v>
                </c:pt>
                <c:pt idx="6">
                  <c:v>148911.20416666669</c:v>
                </c:pt>
                <c:pt idx="7">
                  <c:v>170184.23333333337</c:v>
                </c:pt>
                <c:pt idx="8">
                  <c:v>191457.26250000004</c:v>
                </c:pt>
                <c:pt idx="9">
                  <c:v>212730.29166666672</c:v>
                </c:pt>
                <c:pt idx="10">
                  <c:v>234003.32083333339</c:v>
                </c:pt>
                <c:pt idx="11">
                  <c:v>255276.35000000006</c:v>
                </c:pt>
              </c:numCache>
            </c:numRef>
          </c:val>
          <c:smooth val="0"/>
          <c:extLst>
            <c:ext xmlns:c16="http://schemas.microsoft.com/office/drawing/2014/chart" uri="{C3380CC4-5D6E-409C-BE32-E72D297353CC}">
              <c16:uniqueId val="{00000001-C9DC-FF46-B0FD-386EAD3A963B}"/>
            </c:ext>
          </c:extLst>
        </c:ser>
        <c:dLbls>
          <c:showLegendKey val="0"/>
          <c:showVal val="0"/>
          <c:showCatName val="0"/>
          <c:showSerName val="0"/>
          <c:showPercent val="0"/>
          <c:showBubbleSize val="0"/>
        </c:dLbls>
        <c:smooth val="0"/>
        <c:axId val="1550359936"/>
        <c:axId val="715357391"/>
      </c:lineChart>
      <c:catAx>
        <c:axId val="1550359936"/>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Month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zh-TW"/>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crossAx val="715357391"/>
        <c:crosses val="autoZero"/>
        <c:auto val="1"/>
        <c:lblAlgn val="ctr"/>
        <c:lblOffset val="100"/>
        <c:noMultiLvlLbl val="0"/>
      </c:catAx>
      <c:valAx>
        <c:axId val="715357391"/>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USD</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zh-TW"/>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crossAx val="1550359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TW"/>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TW"/>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4391B4-A7B8-4DA7-BE79-A26093C71E92}" type="datetimeFigureOut">
              <a:rPr lang="en-US" smtClean="0"/>
              <a:t>4/24/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B2782-2960-41E3-A120-70E9B22BE607}" type="slidenum">
              <a:rPr lang="en-US" smtClean="0"/>
              <a:t>‹#›</a:t>
            </a:fld>
            <a:endParaRPr lang="en-US"/>
          </a:p>
        </p:txBody>
      </p:sp>
    </p:spTree>
    <p:extLst>
      <p:ext uri="{BB962C8B-B14F-4D97-AF65-F5344CB8AC3E}">
        <p14:creationId xmlns:p14="http://schemas.microsoft.com/office/powerpoint/2010/main" val="3112990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6B2782-2960-41E3-A120-70E9B22BE607}" type="slidenum">
              <a:rPr lang="en-US" smtClean="0"/>
              <a:t>1</a:t>
            </a:fld>
            <a:endParaRPr lang="en-US"/>
          </a:p>
        </p:txBody>
      </p:sp>
    </p:spTree>
    <p:extLst>
      <p:ext uri="{BB962C8B-B14F-4D97-AF65-F5344CB8AC3E}">
        <p14:creationId xmlns:p14="http://schemas.microsoft.com/office/powerpoint/2010/main" val="1220018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6B2782-2960-41E3-A120-70E9B22BE607}" type="slidenum">
              <a:rPr lang="en-US" smtClean="0"/>
              <a:t>13</a:t>
            </a:fld>
            <a:endParaRPr lang="en-US"/>
          </a:p>
        </p:txBody>
      </p:sp>
    </p:spTree>
    <p:extLst>
      <p:ext uri="{BB962C8B-B14F-4D97-AF65-F5344CB8AC3E}">
        <p14:creationId xmlns:p14="http://schemas.microsoft.com/office/powerpoint/2010/main" val="2730002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6B6B2782-2960-41E3-A120-70E9B22BE607}" type="slidenum">
              <a:rPr lang="en-US" smtClean="0"/>
              <a:t>14</a:t>
            </a:fld>
            <a:endParaRPr lang="en-US"/>
          </a:p>
        </p:txBody>
      </p:sp>
    </p:spTree>
    <p:extLst>
      <p:ext uri="{BB962C8B-B14F-4D97-AF65-F5344CB8AC3E}">
        <p14:creationId xmlns:p14="http://schemas.microsoft.com/office/powerpoint/2010/main" val="4182586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69CBAE-825A-98BE-10F7-AA82E03F14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B9B97-8EED-D241-8CFB-72165607E2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6DB09F-5CBE-0B66-C9FE-2B0698C90C35}"/>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5D27B97-2226-80E0-54EC-979FAA0E1E59}"/>
              </a:ext>
            </a:extLst>
          </p:cNvPr>
          <p:cNvSpPr>
            <a:spLocks noGrp="1"/>
          </p:cNvSpPr>
          <p:nvPr>
            <p:ph type="sldNum" sz="quarter" idx="5"/>
          </p:nvPr>
        </p:nvSpPr>
        <p:spPr/>
        <p:txBody>
          <a:bodyPr/>
          <a:lstStyle/>
          <a:p>
            <a:fld id="{6B6B2782-2960-41E3-A120-70E9B22BE607}" type="slidenum">
              <a:rPr lang="en-US" smtClean="0"/>
              <a:t>15</a:t>
            </a:fld>
            <a:endParaRPr lang="en-US"/>
          </a:p>
        </p:txBody>
      </p:sp>
    </p:spTree>
    <p:extLst>
      <p:ext uri="{BB962C8B-B14F-4D97-AF65-F5344CB8AC3E}">
        <p14:creationId xmlns:p14="http://schemas.microsoft.com/office/powerpoint/2010/main" val="1783444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4C232-ECA5-7F7A-2F5E-778E8A4317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2FA913-AD16-5632-25D5-E2D10501F7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680DC4-CC9E-6327-1F63-9405FF0F8412}"/>
              </a:ext>
            </a:extLst>
          </p:cNvPr>
          <p:cNvSpPr>
            <a:spLocks noGrp="1"/>
          </p:cNvSpPr>
          <p:nvPr>
            <p:ph type="body" idx="1"/>
          </p:nvPr>
        </p:nvSpPr>
        <p:spPr/>
        <p:txBody>
          <a:bodyPr/>
          <a:lstStyle/>
          <a:p>
            <a:pPr marL="228600" indent="-228600">
              <a:buAutoNum type="arabicPeriod"/>
            </a:pPr>
            <a:endParaRPr lang="en-IN" dirty="0">
              <a:ea typeface="Calibri"/>
              <a:cs typeface="Calibri"/>
            </a:endParaRPr>
          </a:p>
        </p:txBody>
      </p:sp>
      <p:sp>
        <p:nvSpPr>
          <p:cNvPr id="4" name="Slide Number Placeholder 3">
            <a:extLst>
              <a:ext uri="{FF2B5EF4-FFF2-40B4-BE49-F238E27FC236}">
                <a16:creationId xmlns:a16="http://schemas.microsoft.com/office/drawing/2014/main" id="{DDC5D993-6447-4F7A-B953-F51DB9E1638B}"/>
              </a:ext>
            </a:extLst>
          </p:cNvPr>
          <p:cNvSpPr>
            <a:spLocks noGrp="1"/>
          </p:cNvSpPr>
          <p:nvPr>
            <p:ph type="sldNum" sz="quarter" idx="5"/>
          </p:nvPr>
        </p:nvSpPr>
        <p:spPr/>
        <p:txBody>
          <a:bodyPr/>
          <a:lstStyle/>
          <a:p>
            <a:fld id="{6B6B2782-2960-41E3-A120-70E9B22BE607}" type="slidenum">
              <a:rPr lang="en-US" smtClean="0"/>
              <a:t>16</a:t>
            </a:fld>
            <a:endParaRPr lang="en-US"/>
          </a:p>
        </p:txBody>
      </p:sp>
    </p:spTree>
    <p:extLst>
      <p:ext uri="{BB962C8B-B14F-4D97-AF65-F5344CB8AC3E}">
        <p14:creationId xmlns:p14="http://schemas.microsoft.com/office/powerpoint/2010/main" val="35760929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6B2782-2960-41E3-A120-70E9B22BE607}" type="slidenum">
              <a:rPr lang="en-US" smtClean="0"/>
              <a:t>17</a:t>
            </a:fld>
            <a:endParaRPr lang="en-US"/>
          </a:p>
        </p:txBody>
      </p:sp>
    </p:spTree>
    <p:extLst>
      <p:ext uri="{BB962C8B-B14F-4D97-AF65-F5344CB8AC3E}">
        <p14:creationId xmlns:p14="http://schemas.microsoft.com/office/powerpoint/2010/main" val="592850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4397A-C7FC-3593-AB77-6DCFDDB062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02854A-EF08-734E-45C7-A0508C984A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0CC3B9-8691-649B-032F-2F52985006D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AF22773A-4FFD-12C9-D871-A7F2393C7470}"/>
              </a:ext>
            </a:extLst>
          </p:cNvPr>
          <p:cNvSpPr>
            <a:spLocks noGrp="1"/>
          </p:cNvSpPr>
          <p:nvPr>
            <p:ph type="sldNum" sz="quarter" idx="5"/>
          </p:nvPr>
        </p:nvSpPr>
        <p:spPr/>
        <p:txBody>
          <a:bodyPr/>
          <a:lstStyle/>
          <a:p>
            <a:fld id="{6B6B2782-2960-41E3-A120-70E9B22BE607}" type="slidenum">
              <a:rPr lang="en-US" smtClean="0"/>
              <a:t>18</a:t>
            </a:fld>
            <a:endParaRPr lang="en-US"/>
          </a:p>
        </p:txBody>
      </p:sp>
    </p:spTree>
    <p:extLst>
      <p:ext uri="{BB962C8B-B14F-4D97-AF65-F5344CB8AC3E}">
        <p14:creationId xmlns:p14="http://schemas.microsoft.com/office/powerpoint/2010/main" val="3432263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B7C87-BC71-6015-1DB9-8477E2295050}"/>
            </a:ext>
          </a:extLst>
        </p:cNvPr>
        <p:cNvGrpSpPr/>
        <p:nvPr/>
      </p:nvGrpSpPr>
      <p:grpSpPr>
        <a:xfrm>
          <a:off x="0" y="0"/>
          <a:ext cx="0" cy="0"/>
          <a:chOff x="0" y="0"/>
          <a:chExt cx="0" cy="0"/>
        </a:xfrm>
      </p:grpSpPr>
      <p:sp>
        <p:nvSpPr>
          <p:cNvPr id="311298" name="Rectangle 7">
            <a:extLst>
              <a:ext uri="{FF2B5EF4-FFF2-40B4-BE49-F238E27FC236}">
                <a16:creationId xmlns:a16="http://schemas.microsoft.com/office/drawing/2014/main" id="{2DABD5C5-B2BE-BDC7-1205-CB45519F6028}"/>
              </a:ext>
            </a:extLst>
          </p:cNvPr>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7C6E26-37AB-437A-BC28-ED7DA4BE8762}"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311299" name="Rectangle 2">
            <a:extLst>
              <a:ext uri="{FF2B5EF4-FFF2-40B4-BE49-F238E27FC236}">
                <a16:creationId xmlns:a16="http://schemas.microsoft.com/office/drawing/2014/main" id="{B03083DE-1DE5-7047-1AF5-0063889C17C9}"/>
              </a:ext>
            </a:extLst>
          </p:cNvPr>
          <p:cNvSpPr>
            <a:spLocks noGrp="1" noRot="1" noChangeAspect="1" noChangeArrowheads="1" noTextEdit="1"/>
          </p:cNvSpPr>
          <p:nvPr>
            <p:ph type="sldImg"/>
          </p:nvPr>
        </p:nvSpPr>
        <p:spPr>
          <a:xfrm>
            <a:off x="120650" y="747713"/>
            <a:ext cx="6561138" cy="3690937"/>
          </a:xfrm>
          <a:ln/>
        </p:spPr>
      </p:sp>
      <p:sp>
        <p:nvSpPr>
          <p:cNvPr id="311300" name="Rectangle 3">
            <a:extLst>
              <a:ext uri="{FF2B5EF4-FFF2-40B4-BE49-F238E27FC236}">
                <a16:creationId xmlns:a16="http://schemas.microsoft.com/office/drawing/2014/main" id="{FF2D5929-53B1-6E42-21FE-DD41AD7E10DD}"/>
              </a:ext>
            </a:extLst>
          </p:cNvPr>
          <p:cNvSpPr>
            <a:spLocks noGrp="1" noChangeArrowheads="1"/>
          </p:cNvSpPr>
          <p:nvPr>
            <p:ph type="body" idx="1"/>
          </p:nvPr>
        </p:nvSpPr>
        <p:spPr>
          <a:xfrm>
            <a:off x="905773" y="4688967"/>
            <a:ext cx="4986141" cy="4444066"/>
          </a:xfrm>
          <a:noFill/>
          <a:ln/>
        </p:spPr>
        <p:txBody>
          <a:bodyPr lIns="99108" tIns="49556" rIns="99108" bIns="49556"/>
          <a:lstStyle/>
          <a:p>
            <a:pPr eaLnBrk="1" hangingPunct="1"/>
            <a:endParaRPr lang="en-US"/>
          </a:p>
        </p:txBody>
      </p:sp>
    </p:spTree>
    <p:extLst>
      <p:ext uri="{BB962C8B-B14F-4D97-AF65-F5344CB8AC3E}">
        <p14:creationId xmlns:p14="http://schemas.microsoft.com/office/powerpoint/2010/main" val="9464030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744B08-E049-8BAC-E94E-08F0088A7C13}"/>
            </a:ext>
          </a:extLst>
        </p:cNvPr>
        <p:cNvGrpSpPr/>
        <p:nvPr/>
      </p:nvGrpSpPr>
      <p:grpSpPr>
        <a:xfrm>
          <a:off x="0" y="0"/>
          <a:ext cx="0" cy="0"/>
          <a:chOff x="0" y="0"/>
          <a:chExt cx="0" cy="0"/>
        </a:xfrm>
      </p:grpSpPr>
      <p:sp>
        <p:nvSpPr>
          <p:cNvPr id="311298" name="Rectangle 7">
            <a:extLst>
              <a:ext uri="{FF2B5EF4-FFF2-40B4-BE49-F238E27FC236}">
                <a16:creationId xmlns:a16="http://schemas.microsoft.com/office/drawing/2014/main" id="{730A3B99-0466-5410-A635-C1411C5186EA}"/>
              </a:ext>
            </a:extLst>
          </p:cNvPr>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7C6E26-37AB-437A-BC28-ED7DA4BE8762}"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311299" name="Rectangle 2">
            <a:extLst>
              <a:ext uri="{FF2B5EF4-FFF2-40B4-BE49-F238E27FC236}">
                <a16:creationId xmlns:a16="http://schemas.microsoft.com/office/drawing/2014/main" id="{1D134ED0-B6B7-0CF7-BD51-DA8BDC264B0D}"/>
              </a:ext>
            </a:extLst>
          </p:cNvPr>
          <p:cNvSpPr>
            <a:spLocks noGrp="1" noRot="1" noChangeAspect="1" noChangeArrowheads="1" noTextEdit="1"/>
          </p:cNvSpPr>
          <p:nvPr>
            <p:ph type="sldImg"/>
          </p:nvPr>
        </p:nvSpPr>
        <p:spPr>
          <a:xfrm>
            <a:off x="120650" y="747713"/>
            <a:ext cx="6561138" cy="3690937"/>
          </a:xfrm>
          <a:ln/>
        </p:spPr>
      </p:sp>
      <p:sp>
        <p:nvSpPr>
          <p:cNvPr id="311300" name="Rectangle 3">
            <a:extLst>
              <a:ext uri="{FF2B5EF4-FFF2-40B4-BE49-F238E27FC236}">
                <a16:creationId xmlns:a16="http://schemas.microsoft.com/office/drawing/2014/main" id="{ED90A135-79F7-3B63-EAED-6609253C3B45}"/>
              </a:ext>
            </a:extLst>
          </p:cNvPr>
          <p:cNvSpPr>
            <a:spLocks noGrp="1" noChangeArrowheads="1"/>
          </p:cNvSpPr>
          <p:nvPr>
            <p:ph type="body" idx="1"/>
          </p:nvPr>
        </p:nvSpPr>
        <p:spPr>
          <a:xfrm>
            <a:off x="905773" y="4688967"/>
            <a:ext cx="4986141" cy="4444066"/>
          </a:xfrm>
          <a:noFill/>
          <a:ln/>
        </p:spPr>
        <p:txBody>
          <a:bodyPr lIns="99108" tIns="49556" rIns="99108" bIns="49556"/>
          <a:lstStyle/>
          <a:p>
            <a:pPr eaLnBrk="1" hangingPunct="1"/>
            <a:endParaRPr lang="en-US"/>
          </a:p>
        </p:txBody>
      </p:sp>
    </p:spTree>
    <p:extLst>
      <p:ext uri="{BB962C8B-B14F-4D97-AF65-F5344CB8AC3E}">
        <p14:creationId xmlns:p14="http://schemas.microsoft.com/office/powerpoint/2010/main" val="1281715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D390C-FF2D-CFC0-DC15-8EFE31CFDA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4D9774-78D8-ED3B-7BF7-227592874C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77E784-EF2D-6014-C9BF-844762753B6B}"/>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9C64BDCE-DD8D-33FF-18C5-3086BCDD5657}"/>
              </a:ext>
            </a:extLst>
          </p:cNvPr>
          <p:cNvSpPr>
            <a:spLocks noGrp="1"/>
          </p:cNvSpPr>
          <p:nvPr>
            <p:ph type="sldNum" sz="quarter" idx="10"/>
          </p:nvPr>
        </p:nvSpPr>
        <p:spPr/>
        <p:txBody>
          <a:bodyPr/>
          <a:lstStyle/>
          <a:p>
            <a:fld id="{D256E95E-57AA-4526-AA4C-3002F47FB13B}" type="slidenum">
              <a:rPr lang="en-US" smtClean="0"/>
              <a:pPr/>
              <a:t>23</a:t>
            </a:fld>
            <a:endParaRPr lang="en-US"/>
          </a:p>
        </p:txBody>
      </p:sp>
    </p:spTree>
    <p:extLst>
      <p:ext uri="{BB962C8B-B14F-4D97-AF65-F5344CB8AC3E}">
        <p14:creationId xmlns:p14="http://schemas.microsoft.com/office/powerpoint/2010/main" val="24797921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6B6B2782-2960-41E3-A120-70E9B22BE607}" type="slidenum">
              <a:rPr lang="en-US" smtClean="0"/>
              <a:t>24</a:t>
            </a:fld>
            <a:endParaRPr lang="en-US"/>
          </a:p>
        </p:txBody>
      </p:sp>
    </p:spTree>
    <p:extLst>
      <p:ext uri="{BB962C8B-B14F-4D97-AF65-F5344CB8AC3E}">
        <p14:creationId xmlns:p14="http://schemas.microsoft.com/office/powerpoint/2010/main" val="3242480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Recap </a:t>
            </a:r>
          </a:p>
          <a:p>
            <a:pPr marL="685800" lvl="1" indent="-228600">
              <a:buAutoNum type="arabicPeriod"/>
            </a:pPr>
            <a:r>
              <a:rPr lang="en-US"/>
              <a:t>Ideal to prolong closure</a:t>
            </a:r>
          </a:p>
          <a:p>
            <a:pPr marL="685800" lvl="1" indent="-228600">
              <a:buAutoNum type="arabicPeriod"/>
            </a:pPr>
            <a:r>
              <a:rPr lang="en-US"/>
              <a:t>Find ways to generate revenue</a:t>
            </a:r>
          </a:p>
          <a:p>
            <a:endParaRPr lang="en-US"/>
          </a:p>
        </p:txBody>
      </p:sp>
      <p:sp>
        <p:nvSpPr>
          <p:cNvPr id="4" name="Slide Number Placeholder 3"/>
          <p:cNvSpPr>
            <a:spLocks noGrp="1"/>
          </p:cNvSpPr>
          <p:nvPr>
            <p:ph type="sldNum" sz="quarter" idx="5"/>
          </p:nvPr>
        </p:nvSpPr>
        <p:spPr/>
        <p:txBody>
          <a:bodyPr/>
          <a:lstStyle/>
          <a:p>
            <a:fld id="{6B6B2782-2960-41E3-A120-70E9B22BE607}" type="slidenum">
              <a:rPr lang="en-US" smtClean="0"/>
              <a:t>2</a:t>
            </a:fld>
            <a:endParaRPr lang="en-US"/>
          </a:p>
        </p:txBody>
      </p:sp>
    </p:spTree>
    <p:extLst>
      <p:ext uri="{BB962C8B-B14F-4D97-AF65-F5344CB8AC3E}">
        <p14:creationId xmlns:p14="http://schemas.microsoft.com/office/powerpoint/2010/main" val="35106904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6B2782-2960-41E3-A120-70E9B22BE607}" type="slidenum">
              <a:rPr lang="en-US" smtClean="0"/>
              <a:pPr/>
              <a:t>26</a:t>
            </a:fld>
            <a:endParaRPr lang="en-US"/>
          </a:p>
        </p:txBody>
      </p:sp>
    </p:spTree>
    <p:extLst>
      <p:ext uri="{BB962C8B-B14F-4D97-AF65-F5344CB8AC3E}">
        <p14:creationId xmlns:p14="http://schemas.microsoft.com/office/powerpoint/2010/main" val="1893842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3</a:t>
            </a:fld>
            <a:endParaRPr lang="en-US"/>
          </a:p>
        </p:txBody>
      </p:sp>
    </p:spTree>
    <p:extLst>
      <p:ext uri="{BB962C8B-B14F-4D97-AF65-F5344CB8AC3E}">
        <p14:creationId xmlns:p14="http://schemas.microsoft.com/office/powerpoint/2010/main" val="4073652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6B6B2782-2960-41E3-A120-70E9B22BE607}" type="slidenum">
              <a:rPr lang="en-US" smtClean="0"/>
              <a:t>6</a:t>
            </a:fld>
            <a:endParaRPr lang="en-US"/>
          </a:p>
        </p:txBody>
      </p:sp>
    </p:spTree>
    <p:extLst>
      <p:ext uri="{BB962C8B-B14F-4D97-AF65-F5344CB8AC3E}">
        <p14:creationId xmlns:p14="http://schemas.microsoft.com/office/powerpoint/2010/main" val="13478424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b="1" dirty="0">
              <a:ea typeface="Calibri"/>
              <a:cs typeface="Calibri"/>
            </a:endParaRPr>
          </a:p>
        </p:txBody>
      </p:sp>
      <p:sp>
        <p:nvSpPr>
          <p:cNvPr id="4" name="Slide Number Placeholder 3"/>
          <p:cNvSpPr>
            <a:spLocks noGrp="1"/>
          </p:cNvSpPr>
          <p:nvPr>
            <p:ph type="sldNum" sz="quarter" idx="5"/>
          </p:nvPr>
        </p:nvSpPr>
        <p:spPr/>
        <p:txBody>
          <a:bodyPr/>
          <a:lstStyle/>
          <a:p>
            <a:fld id="{6B6B2782-2960-41E3-A120-70E9B22BE607}" type="slidenum">
              <a:rPr lang="en-US" smtClean="0"/>
              <a:t>8</a:t>
            </a:fld>
            <a:endParaRPr lang="en-US"/>
          </a:p>
        </p:txBody>
      </p:sp>
    </p:spTree>
    <p:extLst>
      <p:ext uri="{BB962C8B-B14F-4D97-AF65-F5344CB8AC3E}">
        <p14:creationId xmlns:p14="http://schemas.microsoft.com/office/powerpoint/2010/main" val="2807425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6B6B2782-2960-41E3-A120-70E9B22BE607}" type="slidenum">
              <a:rPr lang="en-US" smtClean="0"/>
              <a:t>9</a:t>
            </a:fld>
            <a:endParaRPr lang="en-US"/>
          </a:p>
        </p:txBody>
      </p:sp>
    </p:spTree>
    <p:extLst>
      <p:ext uri="{BB962C8B-B14F-4D97-AF65-F5344CB8AC3E}">
        <p14:creationId xmlns:p14="http://schemas.microsoft.com/office/powerpoint/2010/main" val="2002788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2F0DC-5AB5-7E5B-1B35-90015AC05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42E193-FF60-A400-4F68-A153BE0560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83C2E7-0929-3375-5C67-F8571A7A5AE1}"/>
              </a:ext>
            </a:extLst>
          </p:cNvPr>
          <p:cNvSpPr>
            <a:spLocks noGrp="1"/>
          </p:cNvSpPr>
          <p:nvPr>
            <p:ph type="body" idx="1"/>
          </p:nvPr>
        </p:nvSpPr>
        <p:spPr/>
        <p:txBody>
          <a:bodyPr/>
          <a:lstStyle/>
          <a:p>
            <a:endParaRPr lang="en-US" dirty="0">
              <a:ea typeface="Calibri"/>
              <a:cs typeface="Calibri"/>
            </a:endParaRPr>
          </a:p>
        </p:txBody>
      </p:sp>
      <p:sp>
        <p:nvSpPr>
          <p:cNvPr id="4" name="Slide Number Placeholder 3">
            <a:extLst>
              <a:ext uri="{FF2B5EF4-FFF2-40B4-BE49-F238E27FC236}">
                <a16:creationId xmlns:a16="http://schemas.microsoft.com/office/drawing/2014/main" id="{8F64470E-A598-0E9E-2CEB-316B9266C8FC}"/>
              </a:ext>
            </a:extLst>
          </p:cNvPr>
          <p:cNvSpPr>
            <a:spLocks noGrp="1"/>
          </p:cNvSpPr>
          <p:nvPr>
            <p:ph type="sldNum" sz="quarter" idx="10"/>
          </p:nvPr>
        </p:nvSpPr>
        <p:spPr/>
        <p:txBody>
          <a:bodyPr/>
          <a:lstStyle/>
          <a:p>
            <a:fld id="{D256E95E-57AA-4526-AA4C-3002F47FB13B}" type="slidenum">
              <a:rPr lang="en-US" smtClean="0"/>
              <a:pPr/>
              <a:t>10</a:t>
            </a:fld>
            <a:endParaRPr lang="en-US"/>
          </a:p>
        </p:txBody>
      </p:sp>
    </p:spTree>
    <p:extLst>
      <p:ext uri="{BB962C8B-B14F-4D97-AF65-F5344CB8AC3E}">
        <p14:creationId xmlns:p14="http://schemas.microsoft.com/office/powerpoint/2010/main" val="1144170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525E6-E522-BE70-2C8F-C9EB2990F7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138D29-2981-B8A4-7E85-7B078E2D0E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81E7F1-9F24-C001-10D2-D5A2916CA7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604C67-44E4-CF49-E6BD-B044C0E037C5}"/>
              </a:ext>
            </a:extLst>
          </p:cNvPr>
          <p:cNvSpPr>
            <a:spLocks noGrp="1"/>
          </p:cNvSpPr>
          <p:nvPr>
            <p:ph type="sldNum" sz="quarter" idx="5"/>
          </p:nvPr>
        </p:nvSpPr>
        <p:spPr/>
        <p:txBody>
          <a:bodyPr/>
          <a:lstStyle/>
          <a:p>
            <a:fld id="{6B6B2782-2960-41E3-A120-70E9B22BE607}" type="slidenum">
              <a:rPr lang="en-US" smtClean="0"/>
              <a:t>11</a:t>
            </a:fld>
            <a:endParaRPr lang="en-US"/>
          </a:p>
        </p:txBody>
      </p:sp>
    </p:spTree>
    <p:extLst>
      <p:ext uri="{BB962C8B-B14F-4D97-AF65-F5344CB8AC3E}">
        <p14:creationId xmlns:p14="http://schemas.microsoft.com/office/powerpoint/2010/main" val="3083905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B8555-690F-11D7-FD68-6A87B8142C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4D2702-6B8C-F99F-FA89-D7AD360D41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67DC23-C33B-718B-681C-A1EE6EF3747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tx1"/>
              </a:solidFill>
              <a:ea typeface="Calibri"/>
              <a:cs typeface="Calibri"/>
            </a:endParaRPr>
          </a:p>
        </p:txBody>
      </p:sp>
      <p:sp>
        <p:nvSpPr>
          <p:cNvPr id="4" name="Slide Number Placeholder 3">
            <a:extLst>
              <a:ext uri="{FF2B5EF4-FFF2-40B4-BE49-F238E27FC236}">
                <a16:creationId xmlns:a16="http://schemas.microsoft.com/office/drawing/2014/main" id="{FE779C8C-EB8B-33A6-E000-50ADE11CC79D}"/>
              </a:ext>
            </a:extLst>
          </p:cNvPr>
          <p:cNvSpPr>
            <a:spLocks noGrp="1"/>
          </p:cNvSpPr>
          <p:nvPr>
            <p:ph type="sldNum" sz="quarter" idx="5"/>
          </p:nvPr>
        </p:nvSpPr>
        <p:spPr/>
        <p:txBody>
          <a:bodyPr/>
          <a:lstStyle/>
          <a:p>
            <a:fld id="{6B6B2782-2960-41E3-A120-70E9B22BE607}" type="slidenum">
              <a:rPr lang="en-US" smtClean="0"/>
              <a:t>12</a:t>
            </a:fld>
            <a:endParaRPr lang="en-US"/>
          </a:p>
        </p:txBody>
      </p:sp>
    </p:spTree>
    <p:extLst>
      <p:ext uri="{BB962C8B-B14F-4D97-AF65-F5344CB8AC3E}">
        <p14:creationId xmlns:p14="http://schemas.microsoft.com/office/powerpoint/2010/main" val="37421066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s://youtube.com/KearneyOfficial" TargetMode="External"/><Relationship Id="rId3" Type="http://schemas.openxmlformats.org/officeDocument/2006/relationships/slideMaster" Target="../slideMasters/slideMaster1.xml"/><Relationship Id="rId7" Type="http://schemas.openxmlformats.org/officeDocument/2006/relationships/hyperlink" Target="https://www.linkedin.com/company/kearney" TargetMode="External"/><Relationship Id="rId12" Type="http://schemas.openxmlformats.org/officeDocument/2006/relationships/image" Target="../media/image5.png"/><Relationship Id="rId2" Type="http://schemas.openxmlformats.org/officeDocument/2006/relationships/tags" Target="../tags/tag25.xml"/><Relationship Id="rId16" Type="http://schemas.openxmlformats.org/officeDocument/2006/relationships/image" Target="../media/image7.png"/><Relationship Id="rId1" Type="http://schemas.openxmlformats.org/officeDocument/2006/relationships/tags" Target="../tags/tag24.xml"/><Relationship Id="rId6" Type="http://schemas.openxmlformats.org/officeDocument/2006/relationships/image" Target="../media/image2.emf"/><Relationship Id="rId11" Type="http://schemas.openxmlformats.org/officeDocument/2006/relationships/hyperlink" Target="https://twitter.com/Kearney" TargetMode="External"/><Relationship Id="rId5" Type="http://schemas.openxmlformats.org/officeDocument/2006/relationships/image" Target="../media/image1.emf"/><Relationship Id="rId15" Type="http://schemas.openxmlformats.org/officeDocument/2006/relationships/hyperlink" Target="https://www.facebook.com/Kearney/" TargetMode="External"/><Relationship Id="rId10" Type="http://schemas.openxmlformats.org/officeDocument/2006/relationships/image" Target="../media/image4.png"/><Relationship Id="rId4" Type="http://schemas.openxmlformats.org/officeDocument/2006/relationships/oleObject" Target="../embeddings/oleObject12.bin"/><Relationship Id="rId9" Type="http://schemas.openxmlformats.org/officeDocument/2006/relationships/hyperlink" Target="https://www.instagram.com/kearneyofficial/"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F16389-E8B9-4DEC-A80C-6A9DC0D84DB6}"/>
              </a:ext>
            </a:extLst>
          </p:cNvPr>
          <p:cNvGraphicFramePr>
            <a:graphicFrameLocks noChangeAspect="1"/>
          </p:cNvGraphicFramePr>
          <p:nvPr userDrawn="1">
            <p:custDataLst>
              <p:tags r:id="rId1"/>
            </p:custDataLst>
            <p:extLst>
              <p:ext uri="{D42A27DB-BD31-4B8C-83A1-F6EECF244321}">
                <p14:modId xmlns:p14="http://schemas.microsoft.com/office/powerpoint/2010/main" val="209337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86F16389-E8B9-4DEC-A80C-6A9DC0D84D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FACB92-DF5A-4400-AA4D-954830BAB29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3AD4FE1-9E37-084D-B5CD-5C8B5F316924}"/>
              </a:ext>
            </a:extLst>
          </p:cNvPr>
          <p:cNvSpPr>
            <a:spLocks noGrp="1"/>
          </p:cNvSpPr>
          <p:nvPr>
            <p:ph type="ctrTitle" hasCustomPrompt="1"/>
          </p:nvPr>
        </p:nvSpPr>
        <p:spPr bwMode="gray">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US"/>
              <a:t>What are you here </a:t>
            </a:r>
            <a:br>
              <a:rPr lang="en-US"/>
            </a:br>
            <a:r>
              <a:rPr lang="en-US"/>
              <a:t>to say? Set the tone.</a:t>
            </a:r>
          </a:p>
        </p:txBody>
      </p:sp>
      <p:sp>
        <p:nvSpPr>
          <p:cNvPr id="3" name="Subtitle 2">
            <a:extLst>
              <a:ext uri="{FF2B5EF4-FFF2-40B4-BE49-F238E27FC236}">
                <a16:creationId xmlns:a16="http://schemas.microsoft.com/office/drawing/2014/main" id="{A18B117B-053B-D74C-BAD6-ABB3754D8169}"/>
              </a:ext>
            </a:extLst>
          </p:cNvPr>
          <p:cNvSpPr>
            <a:spLocks noGrp="1"/>
          </p:cNvSpPr>
          <p:nvPr>
            <p:ph type="subTitle" idx="1" hasCustomPrompt="1"/>
          </p:nvPr>
        </p:nvSpPr>
        <p:spPr bwMode="gray">
          <a:xfrm>
            <a:off x="381001" y="2667000"/>
            <a:ext cx="5334000" cy="1143000"/>
          </a:xfrm>
        </p:spPr>
        <p:txBody>
          <a:bodyPr lIns="0" rIns="0"/>
          <a:lstStyle>
            <a:lvl1pPr marL="0" indent="9525" algn="l">
              <a:lnSpc>
                <a:spcPct val="90000"/>
              </a:lnSpc>
              <a:spcBef>
                <a:spcPts val="0"/>
              </a:spcBef>
              <a:spcAft>
                <a:spcPts val="0"/>
              </a:spcAft>
              <a:buNone/>
              <a:tabLst/>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tabLst/>
              <a:defRPr sz="2000"/>
            </a:lvl2pPr>
            <a:lvl3pPr marL="0" indent="0" algn="l">
              <a:spcBef>
                <a:spcPts val="0"/>
              </a:spcBef>
              <a:spcAft>
                <a:spcPts val="0"/>
              </a:spcAft>
              <a:buNone/>
              <a:tabLst/>
              <a:defRPr sz="1800"/>
            </a:lvl3pPr>
            <a:lvl4pPr marL="0" indent="9525" algn="l">
              <a:spcBef>
                <a:spcPts val="0"/>
              </a:spcBef>
              <a:spcAft>
                <a:spcPts val="0"/>
              </a:spcAft>
              <a:buNone/>
              <a:tabLst/>
              <a:defRPr sz="1800"/>
            </a:lvl4pPr>
            <a:lvl5pPr marL="0" indent="-1819275" algn="l">
              <a:spcAft>
                <a:spcPts val="0"/>
              </a:spcAft>
              <a:buNone/>
              <a:tabLst/>
              <a:defRPr sz="1600"/>
            </a:lvl5pPr>
            <a:lvl6pPr marL="0" indent="0" algn="l">
              <a:spcBef>
                <a:spcPts val="0"/>
              </a:spcBef>
              <a:spcAft>
                <a:spcPts val="0"/>
              </a:spcAft>
              <a:buNone/>
              <a:tabLst/>
              <a:defRPr sz="1800"/>
            </a:lvl6pPr>
            <a:lvl7pPr marL="2743200" indent="0" algn="ctr">
              <a:buNone/>
              <a:defRPr sz="1600"/>
            </a:lvl7pPr>
            <a:lvl8pPr marL="3200400" indent="0" algn="ctr">
              <a:buNone/>
              <a:defRPr sz="1600"/>
            </a:lvl8pPr>
            <a:lvl9pPr marL="3657600" indent="0" algn="ctr">
              <a:buNone/>
              <a:defRPr sz="1600"/>
            </a:lvl9pPr>
          </a:lstStyle>
          <a:p>
            <a:pPr lvl="0"/>
            <a:r>
              <a:rPr lang="en-US"/>
              <a:t>Add supporting detail</a:t>
            </a:r>
          </a:p>
          <a:p>
            <a:pPr lvl="1"/>
            <a:r>
              <a:rPr lang="en-US"/>
              <a:t>Date</a:t>
            </a:r>
          </a:p>
        </p:txBody>
      </p:sp>
      <p:sp>
        <p:nvSpPr>
          <p:cNvPr id="15" name="Picture Placeholder 33">
            <a:extLst>
              <a:ext uri="{FF2B5EF4-FFF2-40B4-BE49-F238E27FC236}">
                <a16:creationId xmlns:a16="http://schemas.microsoft.com/office/drawing/2014/main" id="{1D5CCC86-3F10-B647-A528-00A821738983}"/>
              </a:ext>
            </a:extLst>
          </p:cNvPr>
          <p:cNvSpPr>
            <a:spLocks noGrp="1"/>
          </p:cNvSpPr>
          <p:nvPr>
            <p:ph type="pic" sz="quarter" idx="10" hasCustomPrompt="1"/>
          </p:nvPr>
        </p:nvSpPr>
        <p:spPr bwMode="gray">
          <a:xfrm>
            <a:off x="6102350" y="0"/>
            <a:ext cx="6089650" cy="685800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a:solidFill>
            <a:schemeClr val="bg2"/>
          </a:solidFill>
        </p:spPr>
        <p:txBody>
          <a:bodyPr wrap="square" anchor="t">
            <a:noAutofit/>
          </a:bodyPr>
          <a:lstStyle>
            <a:lvl1pPr algn="l">
              <a:defRPr sz="1100" b="0">
                <a:solidFill>
                  <a:schemeClr val="tx1"/>
                </a:solidFill>
              </a:defRPr>
            </a:lvl1pPr>
          </a:lstStyle>
          <a:p>
            <a:r>
              <a:rPr lang="en-US"/>
              <a:t>Click to insert image</a:t>
            </a:r>
          </a:p>
        </p:txBody>
      </p:sp>
      <p:pic>
        <p:nvPicPr>
          <p:cNvPr id="16" name="Picture 15">
            <a:extLst>
              <a:ext uri="{FF2B5EF4-FFF2-40B4-BE49-F238E27FC236}">
                <a16:creationId xmlns:a16="http://schemas.microsoft.com/office/drawing/2014/main" id="{35B1E1F9-B553-404E-B4A0-E71530CCD44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381000" y="6248400"/>
            <a:ext cx="1905000" cy="229324"/>
          </a:xfrm>
          <a:prstGeom prst="rect">
            <a:avLst/>
          </a:prstGeom>
        </p:spPr>
      </p:pic>
    </p:spTree>
    <p:extLst>
      <p:ext uri="{BB962C8B-B14F-4D97-AF65-F5344CB8AC3E}">
        <p14:creationId xmlns:p14="http://schemas.microsoft.com/office/powerpoint/2010/main" val="41336721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1" y="381000"/>
            <a:ext cx="5334000" cy="830997"/>
          </a:xfrm>
        </p:spPr>
        <p:txBody>
          <a:bodyPr wrap="square" lIns="0" tIns="0" rIns="0" bIns="0" anchorCtr="0">
            <a:spAutoFit/>
          </a:bodyPr>
          <a:lstStyle>
            <a:lvl1pPr>
              <a:defRPr/>
            </a:lvl1pPr>
          </a:lstStyle>
          <a:p>
            <a:r>
              <a:rPr lang="en-US"/>
              <a:t>Key message. If the audience reads just this, it will be enough. Make every word count. Say it like you would in the room.</a:t>
            </a:r>
          </a:p>
        </p:txBody>
      </p:sp>
    </p:spTree>
    <p:extLst>
      <p:ext uri="{BB962C8B-B14F-4D97-AF65-F5344CB8AC3E}">
        <p14:creationId xmlns:p14="http://schemas.microsoft.com/office/powerpoint/2010/main" val="334616605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0" y="381000"/>
            <a:ext cx="5343525" cy="830997"/>
          </a:xfrm>
        </p:spPr>
        <p:txBody>
          <a:bodyPr wrap="square" lIns="0" tIns="0" rIns="0" bIns="0" anchorCtr="0">
            <a:spAutoFit/>
          </a:bodyPr>
          <a:lstStyle>
            <a:lvl1pPr>
              <a:defRPr/>
            </a:lvl1pPr>
          </a:lstStyle>
          <a:p>
            <a:r>
              <a:rPr lang="en-US"/>
              <a:t>Key message. If the audience reads just this, it will be enough. Make every word count. Say it like you would in the room.</a:t>
            </a:r>
          </a:p>
        </p:txBody>
      </p:sp>
      <p:sp>
        <p:nvSpPr>
          <p:cNvPr id="3" name="Content Placeholder 2">
            <a:extLst>
              <a:ext uri="{FF2B5EF4-FFF2-40B4-BE49-F238E27FC236}">
                <a16:creationId xmlns:a16="http://schemas.microsoft.com/office/drawing/2014/main" id="{694FEF0F-449D-494E-B003-BA0DE42F6122}"/>
              </a:ext>
            </a:extLst>
          </p:cNvPr>
          <p:cNvSpPr>
            <a:spLocks noGrp="1"/>
          </p:cNvSpPr>
          <p:nvPr>
            <p:ph sz="half" idx="1"/>
          </p:nvPr>
        </p:nvSpPr>
        <p:spPr bwMode="gray">
          <a:xfrm>
            <a:off x="381001" y="1905000"/>
            <a:ext cx="5334000" cy="4187824"/>
          </a:xfrm>
        </p:spPr>
        <p:txBody>
          <a:bodyPr/>
          <a:lstStyle>
            <a:lvl2pPr marL="177800" indent="-177800">
              <a:buClr>
                <a:srgbClr val="000000"/>
              </a:buClr>
              <a:buSzPct val="100000"/>
              <a:buFont typeface="Arial" panose="020B0604020202020204" pitchFamily="34" charset="0"/>
              <a:buChar char="–"/>
              <a:defRPr/>
            </a:lvl2pPr>
            <a:lvl3pPr marL="359156" indent="-177800">
              <a:buClr>
                <a:srgbClr val="000000"/>
              </a:buClr>
              <a:buSzPct val="100000"/>
              <a:buFont typeface="Arial" panose="020B0604020202020204" pitchFamily="34" charset="0"/>
              <a:buChar char="–"/>
              <a:defRPr/>
            </a:lvl3pPr>
            <a:lvl4pPr marL="538734" indent="-177800">
              <a:buClr>
                <a:srgbClr val="000000"/>
              </a:buClr>
              <a:buSzPct val="10000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bwMode="gray">
          <a:xfrm>
            <a:off x="6476999" y="1905000"/>
            <a:ext cx="5334001" cy="4187825"/>
          </a:xfrm>
        </p:spPr>
        <p:txBody>
          <a:bodyPr/>
          <a:lstStyle>
            <a:lvl2pPr marL="177800" indent="-177800">
              <a:buClr>
                <a:srgbClr val="000000"/>
              </a:buClr>
              <a:buSzPct val="100000"/>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970924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llenge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897343-393D-0E44-A97B-2079B348B1F9}"/>
              </a:ext>
            </a:extLst>
          </p:cNvPr>
          <p:cNvSpPr/>
          <p:nvPr userDrawn="1"/>
        </p:nvSpPr>
        <p:spPr bwMode="gray">
          <a:xfrm>
            <a:off x="3044825" y="0"/>
            <a:ext cx="4575175"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1E1E1E"/>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2631238-F440-4B1F-8D7B-809C61CB6264}"/>
              </a:ext>
            </a:extLst>
          </p:cNvPr>
          <p:cNvSpPr>
            <a:spLocks noGrp="1"/>
          </p:cNvSpPr>
          <p:nvPr>
            <p:ph type="title" hasCustomPrompt="1"/>
          </p:nvPr>
        </p:nvSpPr>
        <p:spPr bwMode="gray">
          <a:xfrm>
            <a:off x="381000" y="381000"/>
            <a:ext cx="2286000" cy="2215991"/>
          </a:xfrm>
        </p:spPr>
        <p:txBody>
          <a:bodyPr/>
          <a:lstStyle>
            <a:lvl1pPr>
              <a:defRPr/>
            </a:lvl1pPr>
          </a:lstStyle>
          <a:p>
            <a:r>
              <a:rPr lang="en-US"/>
              <a:t>Key message. </a:t>
            </a:r>
            <a:br>
              <a:rPr lang="en-US"/>
            </a:br>
            <a:r>
              <a:rPr lang="en-US"/>
              <a:t>If the audience reads just this, it will be enough. Make every word count. Say it like you would in the room.</a:t>
            </a:r>
          </a:p>
        </p:txBody>
      </p:sp>
      <p:sp>
        <p:nvSpPr>
          <p:cNvPr id="6" name="Text Placeholder 9">
            <a:extLst>
              <a:ext uri="{FF2B5EF4-FFF2-40B4-BE49-F238E27FC236}">
                <a16:creationId xmlns:a16="http://schemas.microsoft.com/office/drawing/2014/main" id="{D95ABA3D-BEC2-4D38-9AFA-4954F306F25E}"/>
              </a:ext>
            </a:extLst>
          </p:cNvPr>
          <p:cNvSpPr>
            <a:spLocks noGrp="1"/>
          </p:cNvSpPr>
          <p:nvPr>
            <p:ph type="body" sz="quarter" idx="25" hasCustomPrompt="1"/>
          </p:nvPr>
        </p:nvSpPr>
        <p:spPr bwMode="gray">
          <a:xfrm>
            <a:off x="8004175" y="381000"/>
            <a:ext cx="3806826"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a:t>Heading: Make your point.</a:t>
            </a:r>
          </a:p>
        </p:txBody>
      </p:sp>
      <p:sp>
        <p:nvSpPr>
          <p:cNvPr id="8" name="Text Placeholder 9">
            <a:extLst>
              <a:ext uri="{FF2B5EF4-FFF2-40B4-BE49-F238E27FC236}">
                <a16:creationId xmlns:a16="http://schemas.microsoft.com/office/drawing/2014/main" id="{ED8852F4-3A40-41CF-8793-5F648FBC7E2E}"/>
              </a:ext>
            </a:extLst>
          </p:cNvPr>
          <p:cNvSpPr>
            <a:spLocks noGrp="1"/>
          </p:cNvSpPr>
          <p:nvPr>
            <p:ph type="body" sz="quarter" idx="26" hasCustomPrompt="1"/>
          </p:nvPr>
        </p:nvSpPr>
        <p:spPr bwMode="gray">
          <a:xfrm>
            <a:off x="3429000" y="381000"/>
            <a:ext cx="3810000"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a:t>Heading: Make your point.</a:t>
            </a:r>
          </a:p>
        </p:txBody>
      </p:sp>
    </p:spTree>
    <p:extLst>
      <p:ext uri="{BB962C8B-B14F-4D97-AF65-F5344CB8AC3E}">
        <p14:creationId xmlns:p14="http://schemas.microsoft.com/office/powerpoint/2010/main" val="319294949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F5F5F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726B13-8A06-4C2F-B3E2-C6E4FDCB9137}"/>
              </a:ext>
            </a:extLst>
          </p:cNvPr>
          <p:cNvGraphicFramePr>
            <a:graphicFrameLocks noChangeAspect="1"/>
          </p:cNvGraphicFramePr>
          <p:nvPr userDrawn="1">
            <p:custDataLst>
              <p:tags r:id="rId1"/>
            </p:custDataLst>
            <p:extLst>
              <p:ext uri="{D42A27DB-BD31-4B8C-83A1-F6EECF244321}">
                <p14:modId xmlns:p14="http://schemas.microsoft.com/office/powerpoint/2010/main" val="1815197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A0726B13-8A06-4C2F-B3E2-C6E4FDCB91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DD698-12A5-415B-97E6-9C6DBEB91E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1" name="Rectangle 20">
            <a:extLst>
              <a:ext uri="{FF2B5EF4-FFF2-40B4-BE49-F238E27FC236}">
                <a16:creationId xmlns:a16="http://schemas.microsoft.com/office/drawing/2014/main" id="{DAA1EFBD-66C8-4081-AADF-2B4A352FE64D}"/>
              </a:ext>
            </a:extLst>
          </p:cNvPr>
          <p:cNvSpPr/>
          <p:nvPr userDrawn="1"/>
        </p:nvSpPr>
        <p:spPr bwMode="gray">
          <a:xfrm>
            <a:off x="0" y="-1587"/>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CD7508A2-A0AF-4811-ACA1-FC84D131531A}"/>
              </a:ext>
            </a:extLst>
          </p:cNvPr>
          <p:cNvSpPr/>
          <p:nvPr userDrawn="1"/>
        </p:nvSpPr>
        <p:spPr bwMode="gray">
          <a:xfrm>
            <a:off x="-7168" y="3048000"/>
            <a:ext cx="6101581" cy="381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1E1E1E"/>
              </a:solidFill>
              <a:effectLst/>
              <a:uLnTx/>
              <a:uFillTx/>
              <a:latin typeface="Arial" panose="020B0604020202020204"/>
              <a:ea typeface="+mn-ea"/>
              <a:cs typeface="+mn-cs"/>
            </a:endParaRPr>
          </a:p>
        </p:txBody>
      </p:sp>
      <p:sp>
        <p:nvSpPr>
          <p:cNvPr id="19" name="Picture Placeholder 21">
            <a:extLst>
              <a:ext uri="{FF2B5EF4-FFF2-40B4-BE49-F238E27FC236}">
                <a16:creationId xmlns:a16="http://schemas.microsoft.com/office/drawing/2014/main" id="{3448625E-017A-4951-9ED5-25641345A0FB}"/>
              </a:ext>
            </a:extLst>
          </p:cNvPr>
          <p:cNvSpPr>
            <a:spLocks noGrp="1"/>
          </p:cNvSpPr>
          <p:nvPr>
            <p:ph type="pic" sz="quarter" idx="18" hasCustomPrompt="1"/>
          </p:nvPr>
        </p:nvSpPr>
        <p:spPr bwMode="gray">
          <a:xfrm>
            <a:off x="3722550" y="-1587"/>
            <a:ext cx="2373449" cy="2668587"/>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a:t>Click to insert picture</a:t>
            </a:r>
          </a:p>
        </p:txBody>
      </p:sp>
      <p:sp>
        <p:nvSpPr>
          <p:cNvPr id="26" name="Text Placeholder 9">
            <a:extLst>
              <a:ext uri="{FF2B5EF4-FFF2-40B4-BE49-F238E27FC236}">
                <a16:creationId xmlns:a16="http://schemas.microsoft.com/office/drawing/2014/main" id="{1D364477-0314-4F10-9D10-E2EF9653C5E2}"/>
              </a:ext>
            </a:extLst>
          </p:cNvPr>
          <p:cNvSpPr>
            <a:spLocks noGrp="1"/>
          </p:cNvSpPr>
          <p:nvPr>
            <p:ph type="body" sz="quarter" idx="35" hasCustomPrompt="1"/>
          </p:nvPr>
        </p:nvSpPr>
        <p:spPr bwMode="gray">
          <a:xfrm>
            <a:off x="381000" y="3163395"/>
            <a:ext cx="2667000"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a:t>Areas of Expertise</a:t>
            </a:r>
          </a:p>
        </p:txBody>
      </p:sp>
      <p:sp>
        <p:nvSpPr>
          <p:cNvPr id="29" name="Text Placeholder 9">
            <a:extLst>
              <a:ext uri="{FF2B5EF4-FFF2-40B4-BE49-F238E27FC236}">
                <a16:creationId xmlns:a16="http://schemas.microsoft.com/office/drawing/2014/main" id="{F7FD24E3-E069-4B35-9C18-F463735BC897}"/>
              </a:ext>
            </a:extLst>
          </p:cNvPr>
          <p:cNvSpPr>
            <a:spLocks noGrp="1"/>
          </p:cNvSpPr>
          <p:nvPr>
            <p:ph type="body" sz="quarter" idx="36" hasCustomPrompt="1"/>
          </p:nvPr>
        </p:nvSpPr>
        <p:spPr bwMode="gray">
          <a:xfrm>
            <a:off x="3428999" y="3163395"/>
            <a:ext cx="2286001"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a:t>Education</a:t>
            </a:r>
          </a:p>
        </p:txBody>
      </p:sp>
      <p:sp>
        <p:nvSpPr>
          <p:cNvPr id="3" name="Title 2">
            <a:extLst>
              <a:ext uri="{FF2B5EF4-FFF2-40B4-BE49-F238E27FC236}">
                <a16:creationId xmlns:a16="http://schemas.microsoft.com/office/drawing/2014/main" id="{213B904A-F76F-4A89-9C9D-B0B0D1D3C3F8}"/>
              </a:ext>
            </a:extLst>
          </p:cNvPr>
          <p:cNvSpPr>
            <a:spLocks noGrp="1"/>
          </p:cNvSpPr>
          <p:nvPr>
            <p:ph type="title" hasCustomPrompt="1"/>
          </p:nvPr>
        </p:nvSpPr>
        <p:spPr bwMode="gray">
          <a:xfrm>
            <a:off x="381000" y="381000"/>
            <a:ext cx="2286000" cy="2215991"/>
          </a:xfrm>
        </p:spPr>
        <p:txBody>
          <a:bodyPr/>
          <a:lstStyle>
            <a:lvl1pPr>
              <a:defRPr/>
            </a:lvl1pPr>
          </a:lstStyle>
          <a:p>
            <a:r>
              <a:rPr lang="en-US"/>
              <a:t>Surname Name</a:t>
            </a:r>
            <a:br>
              <a:rPr lang="en-US"/>
            </a:br>
            <a:r>
              <a:rPr lang="en-US" b="0"/>
              <a:t>Position, Office, Country</a:t>
            </a:r>
            <a:endParaRPr lang="en-US"/>
          </a:p>
        </p:txBody>
      </p:sp>
      <p:grpSp>
        <p:nvGrpSpPr>
          <p:cNvPr id="35" name="Graphic 19">
            <a:extLst>
              <a:ext uri="{FF2B5EF4-FFF2-40B4-BE49-F238E27FC236}">
                <a16:creationId xmlns:a16="http://schemas.microsoft.com/office/drawing/2014/main" id="{0DF2BC8F-BD6E-4BED-A9DD-8DCAEA9A50D4}"/>
              </a:ext>
            </a:extLst>
          </p:cNvPr>
          <p:cNvGrpSpPr/>
          <p:nvPr userDrawn="1"/>
        </p:nvGrpSpPr>
        <p:grpSpPr bwMode="gray">
          <a:xfrm>
            <a:off x="758825" y="6383803"/>
            <a:ext cx="765175" cy="90021"/>
            <a:chOff x="1562100" y="2895600"/>
            <a:chExt cx="9067800" cy="1066800"/>
          </a:xfrm>
          <a:solidFill>
            <a:schemeClr val="tx1"/>
          </a:solidFill>
        </p:grpSpPr>
        <p:sp>
          <p:nvSpPr>
            <p:cNvPr id="36" name="Freeform 21">
              <a:extLst>
                <a:ext uri="{FF2B5EF4-FFF2-40B4-BE49-F238E27FC236}">
                  <a16:creationId xmlns:a16="http://schemas.microsoft.com/office/drawing/2014/main" id="{AC1D5788-EC41-4A64-9CD3-6E3CB88E41EC}"/>
                </a:ext>
              </a:extLst>
            </p:cNvPr>
            <p:cNvSpPr/>
            <p:nvPr/>
          </p:nvSpPr>
          <p:spPr bwMode="gray">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7" name="Freeform 22">
              <a:extLst>
                <a:ext uri="{FF2B5EF4-FFF2-40B4-BE49-F238E27FC236}">
                  <a16:creationId xmlns:a16="http://schemas.microsoft.com/office/drawing/2014/main" id="{009902B4-2695-4527-B5C8-31F48F2A9654}"/>
                </a:ext>
              </a:extLst>
            </p:cNvPr>
            <p:cNvSpPr/>
            <p:nvPr/>
          </p:nvSpPr>
          <p:spPr bwMode="gray">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8" name="Freeform 23">
              <a:extLst>
                <a:ext uri="{FF2B5EF4-FFF2-40B4-BE49-F238E27FC236}">
                  <a16:creationId xmlns:a16="http://schemas.microsoft.com/office/drawing/2014/main" id="{D3AD1063-D2B8-4B6A-A86D-08AD8E37AAD7}"/>
                </a:ext>
              </a:extLst>
            </p:cNvPr>
            <p:cNvSpPr/>
            <p:nvPr/>
          </p:nvSpPr>
          <p:spPr bwMode="gray">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9" name="Freeform 24">
              <a:extLst>
                <a:ext uri="{FF2B5EF4-FFF2-40B4-BE49-F238E27FC236}">
                  <a16:creationId xmlns:a16="http://schemas.microsoft.com/office/drawing/2014/main" id="{27E78175-02A9-436A-96A2-9F5365F56578}"/>
                </a:ext>
              </a:extLst>
            </p:cNvPr>
            <p:cNvSpPr/>
            <p:nvPr/>
          </p:nvSpPr>
          <p:spPr bwMode="gray">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0" name="Freeform 25">
              <a:extLst>
                <a:ext uri="{FF2B5EF4-FFF2-40B4-BE49-F238E27FC236}">
                  <a16:creationId xmlns:a16="http://schemas.microsoft.com/office/drawing/2014/main" id="{17E9070A-F511-4A5B-9153-39FEE2463F81}"/>
                </a:ext>
              </a:extLst>
            </p:cNvPr>
            <p:cNvSpPr/>
            <p:nvPr/>
          </p:nvSpPr>
          <p:spPr bwMode="gray">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1" name="Freeform 26">
              <a:extLst>
                <a:ext uri="{FF2B5EF4-FFF2-40B4-BE49-F238E27FC236}">
                  <a16:creationId xmlns:a16="http://schemas.microsoft.com/office/drawing/2014/main" id="{241166F2-3E56-4401-B77D-EB0307B39A0C}"/>
                </a:ext>
              </a:extLst>
            </p:cNvPr>
            <p:cNvSpPr/>
            <p:nvPr/>
          </p:nvSpPr>
          <p:spPr bwMode="gray">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2" name="Freeform 27">
              <a:extLst>
                <a:ext uri="{FF2B5EF4-FFF2-40B4-BE49-F238E27FC236}">
                  <a16:creationId xmlns:a16="http://schemas.microsoft.com/office/drawing/2014/main" id="{5F257939-AA22-4BDE-B164-A41F0FA3F5A1}"/>
                </a:ext>
              </a:extLst>
            </p:cNvPr>
            <p:cNvSpPr/>
            <p:nvPr/>
          </p:nvSpPr>
          <p:spPr bwMode="gray">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30" name="TextBox 29">
            <a:extLst>
              <a:ext uri="{FF2B5EF4-FFF2-40B4-BE49-F238E27FC236}">
                <a16:creationId xmlns:a16="http://schemas.microsoft.com/office/drawing/2014/main" id="{43D7114F-F639-4ADE-A59A-1DE07A41E53F}"/>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a:solidFill>
                <a:schemeClr val="tx1">
                  <a:lumMod val="100000"/>
                </a:schemeClr>
              </a:solidFill>
              <a:latin typeface="Arial" panose="020B0604020202020204" pitchFamily="34" charset="0"/>
            </a:endParaRPr>
          </a:p>
        </p:txBody>
      </p:sp>
      <p:sp>
        <p:nvSpPr>
          <p:cNvPr id="6" name="Text Placeholder 5">
            <a:extLst>
              <a:ext uri="{FF2B5EF4-FFF2-40B4-BE49-F238E27FC236}">
                <a16:creationId xmlns:a16="http://schemas.microsoft.com/office/drawing/2014/main" id="{86B08D16-5AA2-494D-9218-A5A958D9A796}"/>
              </a:ext>
            </a:extLst>
          </p:cNvPr>
          <p:cNvSpPr>
            <a:spLocks noGrp="1"/>
          </p:cNvSpPr>
          <p:nvPr>
            <p:ph type="body" sz="quarter" idx="41"/>
          </p:nvPr>
        </p:nvSpPr>
        <p:spPr>
          <a:xfrm>
            <a:off x="6477000" y="381000"/>
            <a:ext cx="5334000" cy="5707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E58AFDCE-ECF6-47EB-A6F5-69ECA2AEC7D0}"/>
              </a:ext>
            </a:extLst>
          </p:cNvPr>
          <p:cNvSpPr>
            <a:spLocks noGrp="1"/>
          </p:cNvSpPr>
          <p:nvPr>
            <p:ph type="body" sz="quarter" idx="42"/>
          </p:nvPr>
        </p:nvSpPr>
        <p:spPr>
          <a:xfrm>
            <a:off x="3429000" y="3429000"/>
            <a:ext cx="2286000" cy="2615375"/>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5B1C7F46-3F09-480F-8300-B47FB5A4F4BA}"/>
              </a:ext>
            </a:extLst>
          </p:cNvPr>
          <p:cNvSpPr>
            <a:spLocks noGrp="1"/>
          </p:cNvSpPr>
          <p:nvPr>
            <p:ph type="body" sz="quarter" idx="43"/>
          </p:nvPr>
        </p:nvSpPr>
        <p:spPr>
          <a:xfrm>
            <a:off x="381000" y="3429000"/>
            <a:ext cx="2667000" cy="2617377"/>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54655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ographies">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F66653-A36B-46DE-BBD0-F01F92C14400}"/>
              </a:ext>
            </a:extLst>
          </p:cNvPr>
          <p:cNvGraphicFramePr>
            <a:graphicFrameLocks noChangeAspect="1"/>
          </p:cNvGraphicFramePr>
          <p:nvPr userDrawn="1">
            <p:custDataLst>
              <p:tags r:id="rId1"/>
            </p:custDataLst>
            <p:extLst>
              <p:ext uri="{D42A27DB-BD31-4B8C-83A1-F6EECF244321}">
                <p14:modId xmlns:p14="http://schemas.microsoft.com/office/powerpoint/2010/main" val="415547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8F66653-A36B-46DE-BBD0-F01F92C14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D7010FC-D5EC-4F40-BF84-C3A559032E0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4" name="Rectangle 3">
            <a:extLst>
              <a:ext uri="{FF2B5EF4-FFF2-40B4-BE49-F238E27FC236}">
                <a16:creationId xmlns:a16="http://schemas.microsoft.com/office/drawing/2014/main" id="{47F5CAB5-F976-4C40-89AE-9A89E9C4AC4F}"/>
              </a:ext>
            </a:extLst>
          </p:cNvPr>
          <p:cNvSpPr/>
          <p:nvPr userDrawn="1"/>
        </p:nvSpPr>
        <p:spPr bwMode="gray">
          <a:xfrm>
            <a:off x="3048002" y="0"/>
            <a:ext cx="3047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1E1E1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F3B78D11-144A-4B42-AA51-7E5FE4BFDAC3}"/>
              </a:ext>
            </a:extLst>
          </p:cNvPr>
          <p:cNvSpPr/>
          <p:nvPr userDrawn="1"/>
        </p:nvSpPr>
        <p:spPr bwMode="gray">
          <a:xfrm>
            <a:off x="6096000" y="0"/>
            <a:ext cx="3048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1E1E1E"/>
              </a:solidFill>
              <a:effectLst/>
              <a:uLnTx/>
              <a:uFillTx/>
              <a:latin typeface="Arial" panose="020B0604020202020204"/>
              <a:ea typeface="+mn-ea"/>
              <a:cs typeface="+mn-cs"/>
            </a:endParaRPr>
          </a:p>
        </p:txBody>
      </p:sp>
      <p:sp>
        <p:nvSpPr>
          <p:cNvPr id="20" name="Picture Placeholder 19">
            <a:extLst>
              <a:ext uri="{FF2B5EF4-FFF2-40B4-BE49-F238E27FC236}">
                <a16:creationId xmlns:a16="http://schemas.microsoft.com/office/drawing/2014/main" id="{4CF47EE3-F5CB-4E44-BC68-EC24C6779C14}"/>
              </a:ext>
            </a:extLst>
          </p:cNvPr>
          <p:cNvSpPr>
            <a:spLocks noGrp="1"/>
          </p:cNvSpPr>
          <p:nvPr>
            <p:ph type="pic" sz="quarter" idx="19"/>
          </p:nvPr>
        </p:nvSpPr>
        <p:spPr bwMode="gray">
          <a:xfrm>
            <a:off x="3048000" y="0"/>
            <a:ext cx="3048000" cy="2663825"/>
          </a:xfrm>
          <a:solidFill>
            <a:srgbClr val="E6E6E6"/>
          </a:solidFill>
        </p:spPr>
        <p:txBody>
          <a:bodyPr anchor="ctr"/>
          <a:lstStyle>
            <a:lvl1pPr algn="ctr">
              <a:defRPr/>
            </a:lvl1pPr>
          </a:lstStyle>
          <a:p>
            <a:r>
              <a:rPr lang="en-US"/>
              <a:t>Click icon to add picture</a:t>
            </a:r>
          </a:p>
        </p:txBody>
      </p:sp>
      <p:sp>
        <p:nvSpPr>
          <p:cNvPr id="21" name="Picture Placeholder 19">
            <a:extLst>
              <a:ext uri="{FF2B5EF4-FFF2-40B4-BE49-F238E27FC236}">
                <a16:creationId xmlns:a16="http://schemas.microsoft.com/office/drawing/2014/main" id="{796EB4AD-659A-9A47-B141-976732FEBC0E}"/>
              </a:ext>
            </a:extLst>
          </p:cNvPr>
          <p:cNvSpPr>
            <a:spLocks noGrp="1"/>
          </p:cNvSpPr>
          <p:nvPr>
            <p:ph type="pic" sz="quarter" idx="20"/>
          </p:nvPr>
        </p:nvSpPr>
        <p:spPr bwMode="gray">
          <a:xfrm>
            <a:off x="6096000" y="0"/>
            <a:ext cx="3048000" cy="2663825"/>
          </a:xfrm>
          <a:solidFill>
            <a:schemeClr val="bg2"/>
          </a:solidFill>
        </p:spPr>
        <p:txBody>
          <a:bodyPr anchor="ctr"/>
          <a:lstStyle>
            <a:lvl1pPr algn="ctr">
              <a:defRPr/>
            </a:lvl1pPr>
          </a:lstStyle>
          <a:p>
            <a:r>
              <a:rPr lang="en-US"/>
              <a:t>Click icon to add picture</a:t>
            </a:r>
          </a:p>
        </p:txBody>
      </p:sp>
      <p:sp>
        <p:nvSpPr>
          <p:cNvPr id="22" name="Picture Placeholder 19">
            <a:extLst>
              <a:ext uri="{FF2B5EF4-FFF2-40B4-BE49-F238E27FC236}">
                <a16:creationId xmlns:a16="http://schemas.microsoft.com/office/drawing/2014/main" id="{8DFD1BD5-98E0-0947-9140-940DFF970135}"/>
              </a:ext>
            </a:extLst>
          </p:cNvPr>
          <p:cNvSpPr>
            <a:spLocks noGrp="1"/>
          </p:cNvSpPr>
          <p:nvPr>
            <p:ph type="pic" sz="quarter" idx="21"/>
          </p:nvPr>
        </p:nvSpPr>
        <p:spPr bwMode="gray">
          <a:xfrm>
            <a:off x="9147359" y="0"/>
            <a:ext cx="3048000" cy="2663825"/>
          </a:xfrm>
          <a:solidFill>
            <a:srgbClr val="E6E6E6"/>
          </a:solidFill>
        </p:spPr>
        <p:txBody>
          <a:bodyPr anchor="ctr"/>
          <a:lstStyle>
            <a:lvl1pPr algn="ctr">
              <a:defRPr/>
            </a:lvl1pPr>
          </a:lstStyle>
          <a:p>
            <a:r>
              <a:rPr lang="en-US"/>
              <a:t>Click icon to add picture</a:t>
            </a:r>
          </a:p>
        </p:txBody>
      </p:sp>
      <p:sp>
        <p:nvSpPr>
          <p:cNvPr id="24" name="Text Placeholder 23">
            <a:extLst>
              <a:ext uri="{FF2B5EF4-FFF2-40B4-BE49-F238E27FC236}">
                <a16:creationId xmlns:a16="http://schemas.microsoft.com/office/drawing/2014/main" id="{44CBE62D-52E2-4C4C-AF6E-96D1E570765B}"/>
              </a:ext>
            </a:extLst>
          </p:cNvPr>
          <p:cNvSpPr>
            <a:spLocks noGrp="1"/>
          </p:cNvSpPr>
          <p:nvPr>
            <p:ph type="body" sz="quarter" idx="22" hasCustomPrompt="1"/>
          </p:nvPr>
        </p:nvSpPr>
        <p:spPr bwMode="gray">
          <a:xfrm>
            <a:off x="3429001" y="3048000"/>
            <a:ext cx="2285999"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a:t>Name and Surname</a:t>
            </a:r>
          </a:p>
          <a:p>
            <a:pPr lvl="1"/>
            <a:r>
              <a:rPr lang="en-US"/>
              <a:t>Job title and location second level</a:t>
            </a:r>
          </a:p>
          <a:p>
            <a:pPr lvl="2"/>
            <a:r>
              <a:rPr lang="en-US"/>
              <a:t>Summary of experience third level</a:t>
            </a:r>
          </a:p>
          <a:p>
            <a:pPr lvl="3"/>
            <a:r>
              <a:rPr lang="en-US"/>
              <a:t>Second level bullet</a:t>
            </a:r>
          </a:p>
          <a:p>
            <a:pPr lvl="4"/>
            <a:r>
              <a:rPr lang="en-US"/>
              <a:t>Third level bullet</a:t>
            </a:r>
          </a:p>
        </p:txBody>
      </p:sp>
      <p:sp>
        <p:nvSpPr>
          <p:cNvPr id="27" name="Text Placeholder 23">
            <a:extLst>
              <a:ext uri="{FF2B5EF4-FFF2-40B4-BE49-F238E27FC236}">
                <a16:creationId xmlns:a16="http://schemas.microsoft.com/office/drawing/2014/main" id="{1C3C4FE2-D60A-3C44-A1A2-F63809BB1ED6}"/>
              </a:ext>
            </a:extLst>
          </p:cNvPr>
          <p:cNvSpPr>
            <a:spLocks noGrp="1"/>
          </p:cNvSpPr>
          <p:nvPr>
            <p:ph type="body" sz="quarter" idx="23" hasCustomPrompt="1"/>
          </p:nvPr>
        </p:nvSpPr>
        <p:spPr bwMode="gray">
          <a:xfrm>
            <a:off x="6477001" y="3048000"/>
            <a:ext cx="228600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a:t>Name and Surname</a:t>
            </a:r>
          </a:p>
          <a:p>
            <a:pPr lvl="1"/>
            <a:r>
              <a:rPr lang="en-US"/>
              <a:t>Job title and location second level</a:t>
            </a:r>
          </a:p>
          <a:p>
            <a:pPr lvl="2"/>
            <a:r>
              <a:rPr lang="en-US"/>
              <a:t>Summary of experience third level</a:t>
            </a:r>
          </a:p>
          <a:p>
            <a:pPr lvl="3"/>
            <a:r>
              <a:rPr lang="en-US"/>
              <a:t>Second level bullet</a:t>
            </a:r>
          </a:p>
          <a:p>
            <a:pPr lvl="4"/>
            <a:r>
              <a:rPr lang="en-US"/>
              <a:t>Third level bullet</a:t>
            </a:r>
          </a:p>
        </p:txBody>
      </p:sp>
      <p:sp>
        <p:nvSpPr>
          <p:cNvPr id="28" name="Text Placeholder 23">
            <a:extLst>
              <a:ext uri="{FF2B5EF4-FFF2-40B4-BE49-F238E27FC236}">
                <a16:creationId xmlns:a16="http://schemas.microsoft.com/office/drawing/2014/main" id="{39E6F826-10D9-8247-8889-29223C7F84B1}"/>
              </a:ext>
            </a:extLst>
          </p:cNvPr>
          <p:cNvSpPr>
            <a:spLocks noGrp="1"/>
          </p:cNvSpPr>
          <p:nvPr>
            <p:ph type="body" sz="quarter" idx="24" hasCustomPrompt="1"/>
          </p:nvPr>
        </p:nvSpPr>
        <p:spPr bwMode="gray">
          <a:xfrm>
            <a:off x="9525000" y="3048000"/>
            <a:ext cx="228936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a:t>Name and Surname</a:t>
            </a:r>
          </a:p>
          <a:p>
            <a:pPr lvl="1"/>
            <a:r>
              <a:rPr lang="en-US"/>
              <a:t>Job title and location second level</a:t>
            </a:r>
          </a:p>
          <a:p>
            <a:pPr lvl="2"/>
            <a:r>
              <a:rPr lang="en-US"/>
              <a:t>Summary of experience third level</a:t>
            </a:r>
          </a:p>
          <a:p>
            <a:pPr lvl="3"/>
            <a:r>
              <a:rPr lang="en-US"/>
              <a:t>Second level bullet</a:t>
            </a:r>
          </a:p>
          <a:p>
            <a:pPr lvl="4"/>
            <a:r>
              <a:rPr lang="en-US"/>
              <a:t>Third level bullet</a:t>
            </a:r>
          </a:p>
        </p:txBody>
      </p:sp>
      <p:sp>
        <p:nvSpPr>
          <p:cNvPr id="5" name="Title 4">
            <a:extLst>
              <a:ext uri="{FF2B5EF4-FFF2-40B4-BE49-F238E27FC236}">
                <a16:creationId xmlns:a16="http://schemas.microsoft.com/office/drawing/2014/main" id="{39468541-A21A-46F7-AFC4-CBC98C325EF5}"/>
              </a:ext>
            </a:extLst>
          </p:cNvPr>
          <p:cNvSpPr>
            <a:spLocks noGrp="1"/>
          </p:cNvSpPr>
          <p:nvPr>
            <p:ph type="title" hasCustomPrompt="1"/>
          </p:nvPr>
        </p:nvSpPr>
        <p:spPr bwMode="gray">
          <a:xfrm>
            <a:off x="381000" y="381000"/>
            <a:ext cx="2285999" cy="2215991"/>
          </a:xfrm>
        </p:spPr>
        <p:txBody>
          <a:bodyPr/>
          <a:lstStyle>
            <a:lvl1pPr>
              <a:defRPr/>
            </a:lvl1pPr>
          </a:lstStyle>
          <a:p>
            <a:r>
              <a:rPr lang="en-US"/>
              <a:t>Key message. </a:t>
            </a:r>
            <a:br>
              <a:rPr lang="en-US"/>
            </a:br>
            <a:r>
              <a:rPr lang="en-US"/>
              <a:t>If the audience reads just this, it will be enough. Make every word count. Say it like you would in the room.</a:t>
            </a:r>
          </a:p>
        </p:txBody>
      </p:sp>
    </p:spTree>
    <p:extLst>
      <p:ext uri="{BB962C8B-B14F-4D97-AF65-F5344CB8AC3E}">
        <p14:creationId xmlns:p14="http://schemas.microsoft.com/office/powerpoint/2010/main" val="341287516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F4BDBA-8A7A-4151-9891-CE2FF8030BCB}"/>
              </a:ext>
            </a:extLst>
          </p:cNvPr>
          <p:cNvSpPr/>
          <p:nvPr userDrawn="1"/>
        </p:nvSpPr>
        <p:spPr>
          <a:xfrm>
            <a:off x="3048000" y="0"/>
            <a:ext cx="457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8A6D9F4-AFFE-40C2-A711-D5F9F9523EA2}"/>
              </a:ext>
            </a:extLst>
          </p:cNvPr>
          <p:cNvSpPr/>
          <p:nvPr userDrawn="1"/>
        </p:nvSpPr>
        <p:spPr>
          <a:xfrm>
            <a:off x="3048000" y="3429000"/>
            <a:ext cx="4572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6F887B0-D81F-4D6E-8490-01166A3570A8}"/>
              </a:ext>
            </a:extLst>
          </p:cNvPr>
          <p:cNvSpPr>
            <a:spLocks noGrp="1"/>
          </p:cNvSpPr>
          <p:nvPr>
            <p:ph type="title" hasCustomPrompt="1"/>
          </p:nvPr>
        </p:nvSpPr>
        <p:spPr/>
        <p:txBody>
          <a:bodyPr/>
          <a:lstStyle>
            <a:lvl1pPr>
              <a:defRPr/>
            </a:lvl1pPr>
          </a:lstStyle>
          <a:p>
            <a:r>
              <a:rPr lang="en-GB"/>
              <a:t>Key message. </a:t>
            </a:r>
            <a:br>
              <a:rPr lang="en-GB"/>
            </a:br>
            <a:r>
              <a:rPr lang="en-GB"/>
              <a:t>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2F01B772-E707-4318-AFF4-D233B7291D07}"/>
              </a:ext>
            </a:extLst>
          </p:cNvPr>
          <p:cNvSpPr>
            <a:spLocks noGrp="1"/>
          </p:cNvSpPr>
          <p:nvPr>
            <p:ph type="body" sz="quarter" idx="16" hasCustomPrompt="1"/>
          </p:nvPr>
        </p:nvSpPr>
        <p:spPr>
          <a:xfrm>
            <a:off x="3428973" y="381000"/>
            <a:ext cx="3810000" cy="357499"/>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a:t>Situation</a:t>
            </a:r>
          </a:p>
        </p:txBody>
      </p:sp>
      <p:sp>
        <p:nvSpPr>
          <p:cNvPr id="23" name="Text Placeholder 9">
            <a:extLst>
              <a:ext uri="{FF2B5EF4-FFF2-40B4-BE49-F238E27FC236}">
                <a16:creationId xmlns:a16="http://schemas.microsoft.com/office/drawing/2014/main" id="{9F9E8AE9-DD63-4653-988B-3750118E135D}"/>
              </a:ext>
            </a:extLst>
          </p:cNvPr>
          <p:cNvSpPr>
            <a:spLocks noGrp="1"/>
          </p:cNvSpPr>
          <p:nvPr>
            <p:ph type="body" sz="quarter" idx="24" hasCustomPrompt="1"/>
          </p:nvPr>
        </p:nvSpPr>
        <p:spPr>
          <a:xfrm>
            <a:off x="3428973" y="3809999"/>
            <a:ext cx="3810000" cy="376971"/>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a:t>Approach</a:t>
            </a:r>
          </a:p>
        </p:txBody>
      </p:sp>
      <p:sp>
        <p:nvSpPr>
          <p:cNvPr id="26" name="Text Placeholder 9">
            <a:extLst>
              <a:ext uri="{FF2B5EF4-FFF2-40B4-BE49-F238E27FC236}">
                <a16:creationId xmlns:a16="http://schemas.microsoft.com/office/drawing/2014/main" id="{7F035056-C297-4E3D-A5DA-D86611958279}"/>
              </a:ext>
            </a:extLst>
          </p:cNvPr>
          <p:cNvSpPr>
            <a:spLocks noGrp="1"/>
          </p:cNvSpPr>
          <p:nvPr>
            <p:ph type="body" sz="quarter" idx="25" hasCustomPrompt="1"/>
          </p:nvPr>
        </p:nvSpPr>
        <p:spPr>
          <a:xfrm>
            <a:off x="8000999" y="3809999"/>
            <a:ext cx="3810001" cy="376971"/>
          </a:xfrm>
        </p:spPr>
        <p:txBody>
          <a:bodyPr/>
          <a:lstStyle>
            <a:lvl1pPr marL="0" indent="0">
              <a:spcBef>
                <a:spcPts val="0"/>
              </a:spcBef>
              <a:spcAft>
                <a:spcPts val="0"/>
              </a:spcAft>
              <a:buFont typeface="Arial" panose="020B0604020202020204" pitchFamily="34" charset="0"/>
              <a:buNone/>
              <a:defRPr sz="16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a:t>Impact</a:t>
            </a:r>
          </a:p>
        </p:txBody>
      </p:sp>
      <p:sp>
        <p:nvSpPr>
          <p:cNvPr id="27" name="Text Placeholder 31">
            <a:extLst>
              <a:ext uri="{FF2B5EF4-FFF2-40B4-BE49-F238E27FC236}">
                <a16:creationId xmlns:a16="http://schemas.microsoft.com/office/drawing/2014/main" id="{FCA46901-ED40-41AA-95AD-ADE9E86C4432}"/>
              </a:ext>
            </a:extLst>
          </p:cNvPr>
          <p:cNvSpPr>
            <a:spLocks noGrp="1"/>
          </p:cNvSpPr>
          <p:nvPr>
            <p:ph type="body" sz="quarter" idx="26"/>
          </p:nvPr>
        </p:nvSpPr>
        <p:spPr>
          <a:xfrm>
            <a:off x="3428973" y="4187825"/>
            <a:ext cx="3810026" cy="1277273"/>
          </a:xfrm>
        </p:spPr>
        <p:txBody>
          <a:bodyPr wrap="square" lIns="0" tIns="0" rIns="0" bIns="0" anchorCtr="0">
            <a:sp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3">
            <a:extLst>
              <a:ext uri="{FF2B5EF4-FFF2-40B4-BE49-F238E27FC236}">
                <a16:creationId xmlns:a16="http://schemas.microsoft.com/office/drawing/2014/main" id="{FFC8F3DC-2FB3-4CA7-9006-B6A3370B9E06}"/>
              </a:ext>
            </a:extLst>
          </p:cNvPr>
          <p:cNvSpPr>
            <a:spLocks noGrp="1"/>
          </p:cNvSpPr>
          <p:nvPr>
            <p:ph type="body" sz="quarter" idx="27"/>
          </p:nvPr>
        </p:nvSpPr>
        <p:spPr>
          <a:xfrm>
            <a:off x="8000944" y="4186238"/>
            <a:ext cx="3809266" cy="1277273"/>
          </a:xfrm>
        </p:spPr>
        <p:txBody>
          <a:bodyPr wrap="square" lIns="0" tIns="0" rIns="0" bIns="0"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6">
            <a:extLst>
              <a:ext uri="{FF2B5EF4-FFF2-40B4-BE49-F238E27FC236}">
                <a16:creationId xmlns:a16="http://schemas.microsoft.com/office/drawing/2014/main" id="{C88F3AC6-38BB-420F-928B-D3D9DAD55B7D}"/>
              </a:ext>
            </a:extLst>
          </p:cNvPr>
          <p:cNvSpPr>
            <a:spLocks noGrp="1"/>
          </p:cNvSpPr>
          <p:nvPr>
            <p:ph type="body" sz="quarter" idx="28"/>
          </p:nvPr>
        </p:nvSpPr>
        <p:spPr>
          <a:xfrm>
            <a:off x="3428973" y="765175"/>
            <a:ext cx="3810001" cy="1381917"/>
          </a:xfrm>
        </p:spPr>
        <p:txBody>
          <a:bodyPr wrap="square" lIns="0" tIns="0" rIns="0" bIns="0" anchorCtr="0">
            <a:sp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Picture Placeholder 20">
            <a:extLst>
              <a:ext uri="{FF2B5EF4-FFF2-40B4-BE49-F238E27FC236}">
                <a16:creationId xmlns:a16="http://schemas.microsoft.com/office/drawing/2014/main" id="{B62EDA09-4F38-47EC-8087-3301CDABF20D}"/>
              </a:ext>
            </a:extLst>
          </p:cNvPr>
          <p:cNvSpPr>
            <a:spLocks noGrp="1"/>
          </p:cNvSpPr>
          <p:nvPr>
            <p:ph type="pic" sz="quarter" idx="23"/>
          </p:nvPr>
        </p:nvSpPr>
        <p:spPr>
          <a:xfrm>
            <a:off x="7620000" y="-1"/>
            <a:ext cx="4572000" cy="3429000"/>
          </a:xfrm>
        </p:spPr>
        <p:txBody>
          <a:bodyPr/>
          <a:lstStyle/>
          <a:p>
            <a:r>
              <a:rPr lang="en-US"/>
              <a:t>Click icon to add picture</a:t>
            </a:r>
            <a:endParaRPr lang="en-GB"/>
          </a:p>
        </p:txBody>
      </p:sp>
    </p:spTree>
    <p:extLst>
      <p:ext uri="{BB962C8B-B14F-4D97-AF65-F5344CB8AC3E}">
        <p14:creationId xmlns:p14="http://schemas.microsoft.com/office/powerpoint/2010/main" val="104052498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96CD57-C0DB-43A8-8C5C-A53954983973}"/>
              </a:ext>
            </a:extLst>
          </p:cNvPr>
          <p:cNvGraphicFramePr>
            <a:graphicFrameLocks noChangeAspect="1"/>
          </p:cNvGraphicFramePr>
          <p:nvPr userDrawn="1">
            <p:custDataLst>
              <p:tags r:id="rId1"/>
            </p:custDataLst>
            <p:extLst>
              <p:ext uri="{D42A27DB-BD31-4B8C-83A1-F6EECF244321}">
                <p14:modId xmlns:p14="http://schemas.microsoft.com/office/powerpoint/2010/main" val="59720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4296CD57-C0DB-43A8-8C5C-A53954983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B228E0-7DFF-492A-AFEB-CD54CE9A63B2}"/>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9" name="Rectangle 28">
            <a:extLst>
              <a:ext uri="{FF2B5EF4-FFF2-40B4-BE49-F238E27FC236}">
                <a16:creationId xmlns:a16="http://schemas.microsoft.com/office/drawing/2014/main" id="{2089A8CE-377D-4B70-A044-B5B63794CD49}"/>
              </a:ext>
            </a:extLst>
          </p:cNvPr>
          <p:cNvSpPr/>
          <p:nvPr userDrawn="1"/>
        </p:nvSpPr>
        <p:spPr bwMode="gray">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2A699C7-7B2A-FE48-B204-2A35A8621D62}"/>
              </a:ext>
            </a:extLst>
          </p:cNvPr>
          <p:cNvSpPr/>
          <p:nvPr userDrawn="1"/>
        </p:nvSpPr>
        <p:spPr bwMode="gray">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0416A9F-C813-47A1-BC5C-9781DE143BBC}"/>
              </a:ext>
            </a:extLst>
          </p:cNvPr>
          <p:cNvSpPr txBox="1"/>
          <p:nvPr userDrawn="1"/>
        </p:nvSpPr>
        <p:spPr bwMode="gray">
          <a:xfrm>
            <a:off x="381001"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fld id="{6CE8C368-3382-4C28-AE75-DF7C05ACA19D}" type="slidenum">
              <a:rPr kumimoji="0" lang="en-US" sz="10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endParaRPr>
          </a:p>
        </p:txBody>
      </p:sp>
      <p:sp>
        <p:nvSpPr>
          <p:cNvPr id="17" name="Title 1">
            <a:extLst>
              <a:ext uri="{FF2B5EF4-FFF2-40B4-BE49-F238E27FC236}">
                <a16:creationId xmlns:a16="http://schemas.microsoft.com/office/drawing/2014/main" id="{8E4614CD-0A06-45AD-BFB3-52C98A15147D}"/>
              </a:ext>
            </a:extLst>
          </p:cNvPr>
          <p:cNvSpPr>
            <a:spLocks noGrp="1"/>
          </p:cNvSpPr>
          <p:nvPr>
            <p:ph type="title" hasCustomPrompt="1"/>
          </p:nvPr>
        </p:nvSpPr>
        <p:spPr bwMode="gray">
          <a:xfrm>
            <a:off x="381001" y="381000"/>
            <a:ext cx="5334000" cy="830997"/>
          </a:xfrm>
        </p:spPr>
        <p:txBody>
          <a:bodyPr wrap="square" lIns="0" tIns="0" rIns="0" bIns="0" anchorCtr="0">
            <a:noAutofit/>
          </a:bodyPr>
          <a:lstStyle>
            <a:lvl1pPr>
              <a:defRPr/>
            </a:lvl1pPr>
          </a:lstStyle>
          <a:p>
            <a:r>
              <a:rPr lang="en-US"/>
              <a:t>Key message. If the audience reads just this, it will be enough. Make every word count. Say it like you would in the room.</a:t>
            </a:r>
          </a:p>
        </p:txBody>
      </p:sp>
      <p:pic>
        <p:nvPicPr>
          <p:cNvPr id="18" name="Picture 17">
            <a:extLst>
              <a:ext uri="{FF2B5EF4-FFF2-40B4-BE49-F238E27FC236}">
                <a16:creationId xmlns:a16="http://schemas.microsoft.com/office/drawing/2014/main" id="{BE5BFCC1-3A56-464E-BF3E-9BA6691720E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762000" y="6384543"/>
            <a:ext cx="765175" cy="92112"/>
          </a:xfrm>
          <a:prstGeom prst="rect">
            <a:avLst/>
          </a:prstGeom>
        </p:spPr>
      </p:pic>
    </p:spTree>
    <p:extLst>
      <p:ext uri="{BB962C8B-B14F-4D97-AF65-F5344CB8AC3E}">
        <p14:creationId xmlns:p14="http://schemas.microsoft.com/office/powerpoint/2010/main" val="2665899819"/>
      </p:ext>
    </p:extLst>
  </p:cSld>
  <p:clrMapOvr>
    <a:masterClrMapping/>
  </p:clrMapOvr>
  <p:extLst>
    <p:ext uri="{DCECCB84-F9BA-43D5-87BE-67443E8EF086}">
      <p15:sldGuideLst xmlns:p15="http://schemas.microsoft.com/office/powerpoint/2012/main">
        <p15:guide id="2" pos="3840">
          <p15:clr>
            <a:srgbClr val="969696"/>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70B7BD-FC9D-4F69-A68F-E0C27C382D7C}"/>
              </a:ext>
            </a:extLst>
          </p:cNvPr>
          <p:cNvGraphicFramePr>
            <a:graphicFrameLocks noChangeAspect="1"/>
          </p:cNvGraphicFramePr>
          <p:nvPr userDrawn="1">
            <p:custDataLst>
              <p:tags r:id="rId1"/>
            </p:custDataLst>
            <p:extLst>
              <p:ext uri="{D42A27DB-BD31-4B8C-83A1-F6EECF244321}">
                <p14:modId xmlns:p14="http://schemas.microsoft.com/office/powerpoint/2010/main" val="2471779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C270B7BD-FC9D-4F69-A68F-E0C27C382D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22C1CB-4182-4CFE-892E-F42BC6EFB9A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4" name="Text Placeholder 3">
            <a:extLst>
              <a:ext uri="{FF2B5EF4-FFF2-40B4-BE49-F238E27FC236}">
                <a16:creationId xmlns:a16="http://schemas.microsoft.com/office/drawing/2014/main" id="{5B0A2A9C-BC2E-E84C-9D64-34631BC47D14}"/>
              </a:ext>
            </a:extLst>
          </p:cNvPr>
          <p:cNvSpPr>
            <a:spLocks noGrp="1"/>
          </p:cNvSpPr>
          <p:nvPr>
            <p:ph type="body" sz="quarter" idx="10" hasCustomPrompt="1"/>
          </p:nvPr>
        </p:nvSpPr>
        <p:spPr bwMode="gray">
          <a:xfrm>
            <a:off x="381000" y="765175"/>
            <a:ext cx="2667000" cy="750508"/>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a:t>Name</a:t>
            </a:r>
          </a:p>
          <a:p>
            <a:pPr lvl="1"/>
            <a:r>
              <a:rPr lang="en-US"/>
              <a:t>Details</a:t>
            </a:r>
          </a:p>
        </p:txBody>
      </p:sp>
      <p:sp>
        <p:nvSpPr>
          <p:cNvPr id="19" name="Text Placeholder 3">
            <a:extLst>
              <a:ext uri="{FF2B5EF4-FFF2-40B4-BE49-F238E27FC236}">
                <a16:creationId xmlns:a16="http://schemas.microsoft.com/office/drawing/2014/main" id="{4E2D8C7B-E137-3948-86A5-8EF55583B657}"/>
              </a:ext>
            </a:extLst>
          </p:cNvPr>
          <p:cNvSpPr>
            <a:spLocks noGrp="1"/>
          </p:cNvSpPr>
          <p:nvPr>
            <p:ph type="body" sz="quarter" idx="11" hasCustomPrompt="1"/>
          </p:nvPr>
        </p:nvSpPr>
        <p:spPr bwMode="gray">
          <a:xfrm>
            <a:off x="3429001" y="765175"/>
            <a:ext cx="2666999" cy="750508"/>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a:t>Name</a:t>
            </a:r>
          </a:p>
          <a:p>
            <a:pPr lvl="1"/>
            <a:r>
              <a:rPr lang="en-US"/>
              <a:t>Details</a:t>
            </a:r>
          </a:p>
        </p:txBody>
      </p:sp>
      <p:sp>
        <p:nvSpPr>
          <p:cNvPr id="20" name="Text Placeholder 3">
            <a:extLst>
              <a:ext uri="{FF2B5EF4-FFF2-40B4-BE49-F238E27FC236}">
                <a16:creationId xmlns:a16="http://schemas.microsoft.com/office/drawing/2014/main" id="{4E76C799-A2B3-8549-BF01-A5E85152A2DC}"/>
              </a:ext>
            </a:extLst>
          </p:cNvPr>
          <p:cNvSpPr>
            <a:spLocks noGrp="1"/>
          </p:cNvSpPr>
          <p:nvPr>
            <p:ph type="body" sz="quarter" idx="12" hasCustomPrompt="1"/>
          </p:nvPr>
        </p:nvSpPr>
        <p:spPr bwMode="gray">
          <a:xfrm>
            <a:off x="381000" y="1721833"/>
            <a:ext cx="2667000" cy="750508"/>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a:t>Name</a:t>
            </a:r>
          </a:p>
          <a:p>
            <a:pPr lvl="1"/>
            <a:r>
              <a:rPr lang="en-US"/>
              <a:t>Details</a:t>
            </a:r>
          </a:p>
        </p:txBody>
      </p:sp>
      <p:sp>
        <p:nvSpPr>
          <p:cNvPr id="21" name="Text Placeholder 3">
            <a:extLst>
              <a:ext uri="{FF2B5EF4-FFF2-40B4-BE49-F238E27FC236}">
                <a16:creationId xmlns:a16="http://schemas.microsoft.com/office/drawing/2014/main" id="{BEF35F24-23CB-894F-98A8-27315C4DB2BF}"/>
              </a:ext>
            </a:extLst>
          </p:cNvPr>
          <p:cNvSpPr>
            <a:spLocks noGrp="1"/>
          </p:cNvSpPr>
          <p:nvPr>
            <p:ph type="body" sz="quarter" idx="13" hasCustomPrompt="1"/>
          </p:nvPr>
        </p:nvSpPr>
        <p:spPr bwMode="gray">
          <a:xfrm>
            <a:off x="3429001" y="1721833"/>
            <a:ext cx="2666999" cy="750508"/>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a:t>Name</a:t>
            </a:r>
          </a:p>
          <a:p>
            <a:pPr lvl="1"/>
            <a:r>
              <a:rPr lang="en-US"/>
              <a:t>Details</a:t>
            </a:r>
          </a:p>
        </p:txBody>
      </p:sp>
      <p:sp>
        <p:nvSpPr>
          <p:cNvPr id="25" name="Rectangle 24">
            <a:extLst>
              <a:ext uri="{FF2B5EF4-FFF2-40B4-BE49-F238E27FC236}">
                <a16:creationId xmlns:a16="http://schemas.microsoft.com/office/drawing/2014/main" id="{578BA69A-3076-2A40-8C16-4A197F6CC4C1}"/>
              </a:ext>
            </a:extLst>
          </p:cNvPr>
          <p:cNvSpPr/>
          <p:nvPr userDrawn="1"/>
        </p:nvSpPr>
        <p:spPr bwMode="gray">
          <a:xfrm>
            <a:off x="381000" y="5805054"/>
            <a:ext cx="5715000" cy="287771"/>
          </a:xfrm>
          <a:prstGeom prst="rect">
            <a:avLst/>
          </a:prstGeom>
        </p:spPr>
        <p:txBody>
          <a:bodyPr wrap="square" lIns="0" tIns="0" rIns="0" bIns="0" anchor="b">
            <a:spAutoFit/>
          </a:body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600" b="0" i="0" u="none" strike="noStrike" kern="1200" cap="none" spc="0" normalizeH="0" baseline="0" noProof="0">
                <a:ln>
                  <a:noFill/>
                </a:ln>
                <a:solidFill>
                  <a:srgbClr val="1E1E1E"/>
                </a:solidFill>
                <a:effectLst/>
                <a:uLnTx/>
                <a:uFillTx/>
                <a:latin typeface="Arial" panose="020B0604020202020204"/>
                <a:ea typeface="+mn-ea"/>
                <a:cs typeface="+mn-cs"/>
              </a:rPr>
              <a:t>This document is exclusively intended for selected client employees. Distribution, quotations and duplications – even in the form of extracts – for third parties is only  permitted upon prior written consent of KEARNEY. </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600" b="0" i="0" u="none" strike="noStrike" kern="1200" cap="none" spc="0" normalizeH="0" baseline="0" noProof="0">
                <a:ln>
                  <a:noFill/>
                </a:ln>
                <a:solidFill>
                  <a:srgbClr val="1E1E1E"/>
                </a:solidFill>
                <a:effectLst/>
                <a:uLnTx/>
                <a:uFillTx/>
                <a:latin typeface="Arial" panose="020B0604020202020204"/>
                <a:ea typeface="+mn-ea"/>
                <a:cs typeface="+mn-cs"/>
              </a:rPr>
              <a:t>KEARNEY used the text and charts compiled in this report in a presentation; they do not represent a complete documentation of the presentation.</a:t>
            </a:r>
          </a:p>
        </p:txBody>
      </p:sp>
      <p:sp>
        <p:nvSpPr>
          <p:cNvPr id="22" name="Picture Placeholder 43">
            <a:extLst>
              <a:ext uri="{FF2B5EF4-FFF2-40B4-BE49-F238E27FC236}">
                <a16:creationId xmlns:a16="http://schemas.microsoft.com/office/drawing/2014/main" id="{763095BA-2E8C-A049-B6E6-B9E92AF22859}"/>
              </a:ext>
            </a:extLst>
          </p:cNvPr>
          <p:cNvSpPr>
            <a:spLocks noGrp="1"/>
          </p:cNvSpPr>
          <p:nvPr>
            <p:ph type="pic" sz="quarter" idx="14" hasCustomPrompt="1"/>
          </p:nvPr>
        </p:nvSpPr>
        <p:spPr bwMode="gray">
          <a:xfrm>
            <a:off x="6096000" y="0"/>
            <a:ext cx="6096000" cy="6858000"/>
          </a:xfrm>
          <a:custGeom>
            <a:avLst/>
            <a:gdLst>
              <a:gd name="connsiteX0" fmla="*/ 0 w 6096000"/>
              <a:gd name="connsiteY0" fmla="*/ 0 h 6858000"/>
              <a:gd name="connsiteX1" fmla="*/ 1858328 w 6096000"/>
              <a:gd name="connsiteY1" fmla="*/ 0 h 6858000"/>
              <a:gd name="connsiteX2" fmla="*/ 3456432 w 6096000"/>
              <a:gd name="connsiteY2" fmla="*/ 2612771 h 6858000"/>
              <a:gd name="connsiteX3" fmla="*/ 5093144 w 6096000"/>
              <a:gd name="connsiteY3" fmla="*/ 0 h 6858000"/>
              <a:gd name="connsiteX4" fmla="*/ 6096000 w 6096000"/>
              <a:gd name="connsiteY4" fmla="*/ 0 h 6858000"/>
              <a:gd name="connsiteX5" fmla="*/ 6096000 w 6096000"/>
              <a:gd name="connsiteY5" fmla="*/ 1283272 h 6858000"/>
              <a:gd name="connsiteX6" fmla="*/ 4272026 w 6096000"/>
              <a:gd name="connsiteY6" fmla="*/ 4115435 h 6858000"/>
              <a:gd name="connsiteX7" fmla="*/ 4272026 w 6096000"/>
              <a:gd name="connsiteY7" fmla="*/ 6858000 h 6858000"/>
              <a:gd name="connsiteX8" fmla="*/ 2650427 w 6096000"/>
              <a:gd name="connsiteY8" fmla="*/ 6858000 h 6858000"/>
              <a:gd name="connsiteX9" fmla="*/ 2650427 w 6096000"/>
              <a:gd name="connsiteY9" fmla="*/ 4106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8000">
                <a:moveTo>
                  <a:pt x="0" y="0"/>
                </a:moveTo>
                <a:lnTo>
                  <a:pt x="1858328" y="0"/>
                </a:lnTo>
                <a:lnTo>
                  <a:pt x="3456432" y="2612771"/>
                </a:lnTo>
                <a:lnTo>
                  <a:pt x="5093144" y="0"/>
                </a:lnTo>
                <a:lnTo>
                  <a:pt x="6096000" y="0"/>
                </a:lnTo>
                <a:lnTo>
                  <a:pt x="6096000" y="1283272"/>
                </a:lnTo>
                <a:lnTo>
                  <a:pt x="4272026" y="4115435"/>
                </a:lnTo>
                <a:lnTo>
                  <a:pt x="4272026" y="6858000"/>
                </a:lnTo>
                <a:lnTo>
                  <a:pt x="2650427" y="6858000"/>
                </a:lnTo>
                <a:lnTo>
                  <a:pt x="2650427" y="4106291"/>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a:t>Click to insert image</a:t>
            </a:r>
          </a:p>
        </p:txBody>
      </p:sp>
      <p:sp>
        <p:nvSpPr>
          <p:cNvPr id="23" name="Text Placeholder 3">
            <a:extLst>
              <a:ext uri="{FF2B5EF4-FFF2-40B4-BE49-F238E27FC236}">
                <a16:creationId xmlns:a16="http://schemas.microsoft.com/office/drawing/2014/main" id="{74D08DEC-6623-4781-9EAF-1AEF06E65F4C}"/>
              </a:ext>
            </a:extLst>
          </p:cNvPr>
          <p:cNvSpPr>
            <a:spLocks noGrp="1"/>
          </p:cNvSpPr>
          <p:nvPr>
            <p:ph type="body" sz="quarter" idx="15" hasCustomPrompt="1"/>
          </p:nvPr>
        </p:nvSpPr>
        <p:spPr bwMode="gray">
          <a:xfrm>
            <a:off x="381000" y="2678492"/>
            <a:ext cx="2667000" cy="750508"/>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a:t>Name</a:t>
            </a:r>
          </a:p>
          <a:p>
            <a:pPr lvl="1"/>
            <a:r>
              <a:rPr lang="en-US"/>
              <a:t>Details</a:t>
            </a:r>
          </a:p>
        </p:txBody>
      </p:sp>
      <p:sp>
        <p:nvSpPr>
          <p:cNvPr id="24" name="Text Placeholder 3">
            <a:extLst>
              <a:ext uri="{FF2B5EF4-FFF2-40B4-BE49-F238E27FC236}">
                <a16:creationId xmlns:a16="http://schemas.microsoft.com/office/drawing/2014/main" id="{4627CD43-C8BD-456F-B11B-D4CCC5605F78}"/>
              </a:ext>
            </a:extLst>
          </p:cNvPr>
          <p:cNvSpPr>
            <a:spLocks noGrp="1"/>
          </p:cNvSpPr>
          <p:nvPr>
            <p:ph type="body" sz="quarter" idx="16" hasCustomPrompt="1"/>
          </p:nvPr>
        </p:nvSpPr>
        <p:spPr bwMode="gray">
          <a:xfrm>
            <a:off x="3429001" y="2678492"/>
            <a:ext cx="2666999" cy="750508"/>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a:t>Name</a:t>
            </a:r>
          </a:p>
          <a:p>
            <a:pPr lvl="1"/>
            <a:r>
              <a:rPr lang="en-US"/>
              <a:t>Details</a:t>
            </a:r>
          </a:p>
        </p:txBody>
      </p:sp>
      <p:pic>
        <p:nvPicPr>
          <p:cNvPr id="39" name="Picture 38">
            <a:extLst>
              <a:ext uri="{FF2B5EF4-FFF2-40B4-BE49-F238E27FC236}">
                <a16:creationId xmlns:a16="http://schemas.microsoft.com/office/drawing/2014/main" id="{3A35ABDC-1539-4A58-BE25-E90ADD7386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381000" y="6248400"/>
            <a:ext cx="1905000" cy="229324"/>
          </a:xfrm>
          <a:prstGeom prst="rect">
            <a:avLst/>
          </a:prstGeom>
        </p:spPr>
      </p:pic>
      <p:sp>
        <p:nvSpPr>
          <p:cNvPr id="6" name="Rectangle 5">
            <a:extLst>
              <a:ext uri="{FF2B5EF4-FFF2-40B4-BE49-F238E27FC236}">
                <a16:creationId xmlns:a16="http://schemas.microsoft.com/office/drawing/2014/main" id="{34305778-3C35-4F87-95B8-48D34A0EAB57}"/>
              </a:ext>
            </a:extLst>
          </p:cNvPr>
          <p:cNvSpPr/>
          <p:nvPr userDrawn="1"/>
        </p:nvSpPr>
        <p:spPr>
          <a:xfrm>
            <a:off x="381000" y="380999"/>
            <a:ext cx="2286000" cy="385763"/>
          </a:xfrm>
          <a:prstGeom prst="rect">
            <a:avLst/>
          </a:prstGeom>
        </p:spPr>
        <p:txBody>
          <a:bodyPr vert="horz" wrap="square" lIns="0" tIns="0" rIns="0" bIns="0" rtlCol="0" anchor="t" anchorCtr="0">
            <a:noAutofit/>
          </a:bodyPr>
          <a:lstStyle/>
          <a:p>
            <a:pPr lvl="0">
              <a:lnSpc>
                <a:spcPct val="90000"/>
              </a:lnSpc>
              <a:spcBef>
                <a:spcPts val="0"/>
              </a:spcBef>
              <a:spcAft>
                <a:spcPts val="0"/>
              </a:spcAft>
              <a:buNone/>
            </a:pPr>
            <a:r>
              <a:rPr lang="en-US" sz="2000" b="1">
                <a:solidFill>
                  <a:schemeClr val="tx2"/>
                </a:solidFill>
                <a:latin typeface="+mj-lt"/>
                <a:ea typeface="+mj-ea"/>
                <a:cs typeface="+mj-cs"/>
              </a:rPr>
              <a:t>Thank you</a:t>
            </a:r>
          </a:p>
        </p:txBody>
      </p:sp>
      <p:sp>
        <p:nvSpPr>
          <p:cNvPr id="14" name="Text Placeholder 2">
            <a:extLst>
              <a:ext uri="{FF2B5EF4-FFF2-40B4-BE49-F238E27FC236}">
                <a16:creationId xmlns:a16="http://schemas.microsoft.com/office/drawing/2014/main" id="{7D19352E-21F1-4375-A6D4-65010E3C6CCC}"/>
              </a:ext>
            </a:extLst>
          </p:cNvPr>
          <p:cNvSpPr txBox="1">
            <a:spLocks/>
          </p:cNvSpPr>
          <p:nvPr userDrawn="1"/>
        </p:nvSpPr>
        <p:spPr bwMode="gray">
          <a:xfrm>
            <a:off x="381000" y="3816948"/>
            <a:ext cx="5715000" cy="533399"/>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tabLst/>
              <a:defRPr lang="en-US" sz="1100" b="1" kern="1200" noProof="0">
                <a:solidFill>
                  <a:schemeClr val="tx1"/>
                </a:solidFill>
                <a:latin typeface="+mn-lt"/>
                <a:ea typeface="+mn-ea"/>
                <a:cs typeface="+mn-cs"/>
              </a:defRPr>
            </a:lvl1pPr>
            <a:lvl2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100"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ts val="300"/>
              </a:spcBef>
            </a:pPr>
            <a:r>
              <a:rPr lang="en-US" sz="1100" b="0"/>
              <a:t>Kearney is a leading global management consulting firm. For nearly 100 years, we have been the trusted advisor to C-suites, government bodies, and nonprofit organizations. Our people make us who we are. Driven to be the difference between a big idea and making it happen, we help our clients break through. </a:t>
            </a:r>
            <a:endParaRPr lang="cs-CZ" sz="1100" b="0"/>
          </a:p>
          <a:p>
            <a:pPr>
              <a:spcBef>
                <a:spcPts val="300"/>
              </a:spcBef>
            </a:pPr>
            <a:r>
              <a:rPr lang="en-US" sz="1100"/>
              <a:t>www.kearney.com</a:t>
            </a:r>
          </a:p>
        </p:txBody>
      </p:sp>
      <p:sp>
        <p:nvSpPr>
          <p:cNvPr id="15" name="Text Placeholder 4">
            <a:extLst>
              <a:ext uri="{FF2B5EF4-FFF2-40B4-BE49-F238E27FC236}">
                <a16:creationId xmlns:a16="http://schemas.microsoft.com/office/drawing/2014/main" id="{9E9F5617-7080-4BB2-94B0-F0A05C5823FA}"/>
              </a:ext>
            </a:extLst>
          </p:cNvPr>
          <p:cNvSpPr txBox="1">
            <a:spLocks/>
          </p:cNvSpPr>
          <p:nvPr userDrawn="1"/>
        </p:nvSpPr>
        <p:spPr bwMode="gray">
          <a:xfrm>
            <a:off x="386715" y="4953000"/>
            <a:ext cx="2654300" cy="27847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tabLst/>
              <a:defRPr lang="en-US" sz="1200" b="1" kern="1200" noProof="0">
                <a:solidFill>
                  <a:schemeClr val="tx1"/>
                </a:solidFill>
                <a:latin typeface="+mn-lt"/>
                <a:ea typeface="+mn-ea"/>
                <a:cs typeface="+mn-cs"/>
              </a:defRPr>
            </a:lvl1pPr>
            <a:lvl2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r>
              <a:rPr lang="en-US" sz="1100"/>
              <a:t>Stay connected with Kearney</a:t>
            </a:r>
          </a:p>
        </p:txBody>
      </p:sp>
      <p:pic>
        <p:nvPicPr>
          <p:cNvPr id="16" name="Picture 15" descr="A drawing of a face&#10;&#10;Description automatically generated">
            <a:hlinkClick r:id="rId7"/>
            <a:extLst>
              <a:ext uri="{FF2B5EF4-FFF2-40B4-BE49-F238E27FC236}">
                <a16:creationId xmlns:a16="http://schemas.microsoft.com/office/drawing/2014/main" id="{C42EED9A-93D2-4111-93FB-44E62B46F22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bwMode="gray">
          <a:xfrm>
            <a:off x="384048" y="5181600"/>
            <a:ext cx="359237" cy="359237"/>
          </a:xfrm>
          <a:prstGeom prst="rect">
            <a:avLst/>
          </a:prstGeom>
        </p:spPr>
      </p:pic>
      <p:pic>
        <p:nvPicPr>
          <p:cNvPr id="17" name="Picture 16" descr="A picture containing drawing&#10;&#10;Description automatically generated">
            <a:hlinkClick r:id="rId9"/>
            <a:extLst>
              <a:ext uri="{FF2B5EF4-FFF2-40B4-BE49-F238E27FC236}">
                <a16:creationId xmlns:a16="http://schemas.microsoft.com/office/drawing/2014/main" id="{C2A7E718-FD1D-4AFE-ACE9-92725F57635D}"/>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gray">
          <a:xfrm>
            <a:off x="869018" y="5181600"/>
            <a:ext cx="359237" cy="359237"/>
          </a:xfrm>
          <a:prstGeom prst="rect">
            <a:avLst/>
          </a:prstGeom>
        </p:spPr>
      </p:pic>
      <p:pic>
        <p:nvPicPr>
          <p:cNvPr id="18" name="Picture 17" descr="A picture containing drawing&#10;&#10;Description automatically generated">
            <a:hlinkClick r:id="rId11"/>
            <a:extLst>
              <a:ext uri="{FF2B5EF4-FFF2-40B4-BE49-F238E27FC236}">
                <a16:creationId xmlns:a16="http://schemas.microsoft.com/office/drawing/2014/main" id="{1541D422-6334-4123-9AF4-77A42EF533E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bwMode="gray">
          <a:xfrm>
            <a:off x="1345905" y="5181600"/>
            <a:ext cx="359237" cy="359237"/>
          </a:xfrm>
          <a:prstGeom prst="rect">
            <a:avLst/>
          </a:prstGeom>
        </p:spPr>
      </p:pic>
      <p:pic>
        <p:nvPicPr>
          <p:cNvPr id="26" name="Picture 25" descr="A picture containing drawing&#10;&#10;Description automatically generated">
            <a:hlinkClick r:id="rId13"/>
            <a:extLst>
              <a:ext uri="{FF2B5EF4-FFF2-40B4-BE49-F238E27FC236}">
                <a16:creationId xmlns:a16="http://schemas.microsoft.com/office/drawing/2014/main" id="{A7CEEB1C-EE1B-439A-9586-F4EE1C8640AC}"/>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bwMode="gray">
          <a:xfrm>
            <a:off x="2307763" y="5181600"/>
            <a:ext cx="359237" cy="359237"/>
          </a:xfrm>
          <a:prstGeom prst="rect">
            <a:avLst/>
          </a:prstGeom>
        </p:spPr>
      </p:pic>
      <p:pic>
        <p:nvPicPr>
          <p:cNvPr id="27" name="Picture 26" descr="A drawing of a face&#10;&#10;Description automatically generated">
            <a:hlinkClick r:id="rId15"/>
            <a:extLst>
              <a:ext uri="{FF2B5EF4-FFF2-40B4-BE49-F238E27FC236}">
                <a16:creationId xmlns:a16="http://schemas.microsoft.com/office/drawing/2014/main" id="{1294260F-3AED-47F6-A8CE-9E3083AD421C}"/>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bwMode="gray">
          <a:xfrm>
            <a:off x="1822793" y="5181600"/>
            <a:ext cx="359237" cy="359237"/>
          </a:xfrm>
          <a:prstGeom prst="rect">
            <a:avLst/>
          </a:prstGeom>
        </p:spPr>
      </p:pic>
    </p:spTree>
    <p:extLst>
      <p:ext uri="{BB962C8B-B14F-4D97-AF65-F5344CB8AC3E}">
        <p14:creationId xmlns:p14="http://schemas.microsoft.com/office/powerpoint/2010/main" val="3135132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3F9F64B-940B-43E0-8291-E8A36A1AE55A}"/>
              </a:ext>
            </a:extLst>
          </p:cNvPr>
          <p:cNvSpPr>
            <a:spLocks noGrp="1"/>
          </p:cNvSpPr>
          <p:nvPr>
            <p:ph sz="quarter" idx="10"/>
          </p:nvPr>
        </p:nvSpPr>
        <p:spPr bwMode="gray">
          <a:xfrm>
            <a:off x="3428999" y="381001"/>
            <a:ext cx="8382001" cy="5715000"/>
          </a:xfrm>
        </p:spPr>
        <p:txBody>
          <a:bodyPr/>
          <a:lstStyle>
            <a:lvl1pPr>
              <a:spcAft>
                <a:spcPts val="1800"/>
              </a:spcAft>
              <a:defRPr sz="1600" b="1">
                <a:solidFill>
                  <a:schemeClr val="tx2"/>
                </a:solidFill>
              </a:defRPr>
            </a:lvl1pPr>
            <a:lvl2pPr marL="0" indent="0">
              <a:spcAft>
                <a:spcPts val="600"/>
              </a:spcAft>
              <a:buNone/>
              <a:defRPr/>
            </a:lvl2pPr>
            <a:lvl3pPr marL="177800" indent="-177800">
              <a:spcAft>
                <a:spcPts val="600"/>
              </a:spcAft>
              <a:buClr>
                <a:srgbClr val="000000"/>
              </a:buClr>
              <a:buSzPct val="100000"/>
              <a:buFont typeface="Arial" panose="020B0604020202020204" pitchFamily="34" charset="0"/>
              <a:buChar char="–"/>
              <a:defRPr/>
            </a:lvl3pPr>
            <a:lvl4pPr marL="359156" indent="-177800">
              <a:spcAft>
                <a:spcPts val="600"/>
              </a:spcAft>
              <a:buClr>
                <a:srgbClr val="000000"/>
              </a:buClr>
              <a:buSzPct val="100000"/>
              <a:buFont typeface="Arial" panose="020B0604020202020204" pitchFamily="34" charset="0"/>
              <a:buChar char="–"/>
              <a:defRPr/>
            </a:lvl4pPr>
            <a:lvl5pPr marL="538734" indent="-177800">
              <a:spcAft>
                <a:spcPts val="600"/>
              </a:spcAft>
              <a:buClr>
                <a:srgbClr val="000000"/>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56F9B490-F790-4671-9748-99A165BDC8AF}"/>
              </a:ext>
            </a:extLst>
          </p:cNvPr>
          <p:cNvSpPr>
            <a:spLocks noGrp="1"/>
          </p:cNvSpPr>
          <p:nvPr>
            <p:ph type="title" hasCustomPrompt="1"/>
          </p:nvPr>
        </p:nvSpPr>
        <p:spPr bwMode="gray"/>
        <p:txBody>
          <a:bodyPr/>
          <a:lstStyle>
            <a:lvl1pPr>
              <a:defRPr/>
            </a:lvl1pPr>
          </a:lstStyle>
          <a:p>
            <a:r>
              <a:rPr lang="en-US"/>
              <a:t>Key message. </a:t>
            </a:r>
            <a:br>
              <a:rPr lang="en-US"/>
            </a:br>
            <a:r>
              <a:rPr lang="en-US"/>
              <a:t>If the audience reads just this, it will be enough. Make every word count. Say it like you would in the room.</a:t>
            </a:r>
          </a:p>
        </p:txBody>
      </p:sp>
    </p:spTree>
    <p:extLst>
      <p:ext uri="{BB962C8B-B14F-4D97-AF65-F5344CB8AC3E}">
        <p14:creationId xmlns:p14="http://schemas.microsoft.com/office/powerpoint/2010/main" val="168761469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CAA8CDD-85D5-455D-B49F-664C57426048}"/>
              </a:ext>
            </a:extLst>
          </p:cNvPr>
          <p:cNvSpPr>
            <a:spLocks noGrp="1"/>
          </p:cNvSpPr>
          <p:nvPr>
            <p:ph type="body" sz="quarter" idx="10" hasCustomPrompt="1"/>
          </p:nvPr>
        </p:nvSpPr>
        <p:spPr bwMode="gray">
          <a:xfrm>
            <a:off x="376237" y="381000"/>
            <a:ext cx="11434763" cy="5335587"/>
          </a:xfrm>
        </p:spPr>
        <p:txBody>
          <a:bodyPr/>
          <a:lstStyle>
            <a:lvl1pPr marL="723900" marR="0" indent="-723900" algn="l" defTabSz="914400" rtl="0" eaLnBrk="1" fontAlgn="auto" latinLnBrk="0" hangingPunct="1">
              <a:lnSpc>
                <a:spcPct val="90000"/>
              </a:lnSpc>
              <a:spcBef>
                <a:spcPts val="900"/>
              </a:spcBef>
              <a:spcAft>
                <a:spcPts val="0"/>
              </a:spcAft>
              <a:buClrTx/>
              <a:buSzTx/>
              <a:buFont typeface="+mj-lt"/>
              <a:buAutoNum type="arabicPeriod"/>
              <a:tabLst/>
              <a:defRPr sz="3800" b="1">
                <a:solidFill>
                  <a:schemeClr val="tx2"/>
                </a:solidFill>
              </a:defRPr>
            </a:lvl1pPr>
            <a:lvl2pPr marL="955675" indent="-954088">
              <a:spcBef>
                <a:spcPts val="0"/>
              </a:spcBef>
              <a:spcAft>
                <a:spcPts val="0"/>
              </a:spcAft>
              <a:buFont typeface="+mj-lt"/>
              <a:buAutoNum type="arabicPeriod"/>
              <a:tabLst/>
              <a:defRPr sz="6000" b="1">
                <a:solidFill>
                  <a:schemeClr val="tx2"/>
                </a:solidFill>
              </a:defRPr>
            </a:lvl2pPr>
            <a:lvl3pPr marL="955675" indent="-954088">
              <a:spcBef>
                <a:spcPts val="0"/>
              </a:spcBef>
              <a:spcAft>
                <a:spcPts val="0"/>
              </a:spcAft>
              <a:buFont typeface="+mj-lt"/>
              <a:buAutoNum type="arabicPeriod"/>
              <a:tabLst/>
              <a:defRPr sz="6000" b="1">
                <a:solidFill>
                  <a:schemeClr val="tx2"/>
                </a:solidFill>
              </a:defRPr>
            </a:lvl3pPr>
            <a:lvl4pPr marL="955675" indent="-954088">
              <a:spcBef>
                <a:spcPts val="0"/>
              </a:spcBef>
              <a:spcAft>
                <a:spcPts val="0"/>
              </a:spcAft>
              <a:buFont typeface="+mj-lt"/>
              <a:buAutoNum type="arabicPeriod"/>
              <a:tabLst/>
              <a:defRPr sz="6000" b="1">
                <a:solidFill>
                  <a:schemeClr val="tx2"/>
                </a:solidFill>
              </a:defRPr>
            </a:lvl4pPr>
            <a:lvl5pPr marL="955675" indent="-954088">
              <a:spcBef>
                <a:spcPts val="0"/>
              </a:spcBef>
              <a:spcAft>
                <a:spcPts val="0"/>
              </a:spcAft>
              <a:buFont typeface="+mj-lt"/>
              <a:buAutoNum type="arabicPeriod"/>
              <a:tabLst/>
              <a:defRPr sz="6000" b="1">
                <a:solidFill>
                  <a:schemeClr val="tx2"/>
                </a:solidFill>
              </a:defRPr>
            </a:lvl5pPr>
          </a:lstStyle>
          <a:p>
            <a:pPr lvl="0"/>
            <a:r>
              <a:rPr lang="en-US"/>
              <a:t>Chapter heading</a:t>
            </a:r>
          </a:p>
        </p:txBody>
      </p:sp>
    </p:spTree>
    <p:extLst>
      <p:ext uri="{BB962C8B-B14F-4D97-AF65-F5344CB8AC3E}">
        <p14:creationId xmlns:p14="http://schemas.microsoft.com/office/powerpoint/2010/main" val="315144057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7065A8-FE0C-4E45-8273-572C0E002B19}"/>
              </a:ext>
            </a:extLst>
          </p:cNvPr>
          <p:cNvGraphicFramePr>
            <a:graphicFrameLocks noChangeAspect="1"/>
          </p:cNvGraphicFramePr>
          <p:nvPr userDrawn="1">
            <p:custDataLst>
              <p:tags r:id="rId1"/>
            </p:custDataLst>
            <p:extLst>
              <p:ext uri="{D42A27DB-BD31-4B8C-83A1-F6EECF244321}">
                <p14:modId xmlns:p14="http://schemas.microsoft.com/office/powerpoint/2010/main" val="3414840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347065A8-FE0C-4E45-8273-572C0E002B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D906BB-B766-4A81-982C-FF509E5EC78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8" name="Picture Placeholder 27">
            <a:extLst>
              <a:ext uri="{FF2B5EF4-FFF2-40B4-BE49-F238E27FC236}">
                <a16:creationId xmlns:a16="http://schemas.microsoft.com/office/drawing/2014/main" id="{51A428E3-848B-4A4F-88B3-C1AC15148599}"/>
              </a:ext>
            </a:extLst>
          </p:cNvPr>
          <p:cNvSpPr>
            <a:spLocks noGrp="1"/>
          </p:cNvSpPr>
          <p:nvPr>
            <p:ph type="pic" sz="quarter" idx="42" hasCustomPrompt="1"/>
          </p:nvPr>
        </p:nvSpPr>
        <p:spPr bwMode="gray">
          <a:xfrm>
            <a:off x="6477001" y="0"/>
            <a:ext cx="5714999" cy="6858000"/>
          </a:xfrm>
          <a:custGeom>
            <a:avLst/>
            <a:gdLst>
              <a:gd name="connsiteX0" fmla="*/ 0 w 5629275"/>
              <a:gd name="connsiteY0" fmla="*/ 0 h 6858000"/>
              <a:gd name="connsiteX1" fmla="*/ 5629275 w 5629275"/>
              <a:gd name="connsiteY1" fmla="*/ 0 h 6858000"/>
              <a:gd name="connsiteX2" fmla="*/ 5629275 w 5629275"/>
              <a:gd name="connsiteY2" fmla="*/ 1423986 h 6858000"/>
              <a:gd name="connsiteX3" fmla="*/ 1566860 w 5629275"/>
              <a:gd name="connsiteY3" fmla="*/ 1423986 h 6858000"/>
              <a:gd name="connsiteX4" fmla="*/ 1566860 w 5629275"/>
              <a:gd name="connsiteY4" fmla="*/ 2709861 h 6858000"/>
              <a:gd name="connsiteX5" fmla="*/ 5072061 w 5629275"/>
              <a:gd name="connsiteY5" fmla="*/ 2709861 h 6858000"/>
              <a:gd name="connsiteX6" fmla="*/ 5072061 w 5629275"/>
              <a:gd name="connsiteY6" fmla="*/ 4204704 h 6858000"/>
              <a:gd name="connsiteX7" fmla="*/ 1566860 w 5629275"/>
              <a:gd name="connsiteY7" fmla="*/ 4204704 h 6858000"/>
              <a:gd name="connsiteX8" fmla="*/ 1566860 w 5629275"/>
              <a:gd name="connsiteY8" fmla="*/ 5386387 h 6858000"/>
              <a:gd name="connsiteX9" fmla="*/ 5629275 w 5629275"/>
              <a:gd name="connsiteY9" fmla="*/ 5386387 h 6858000"/>
              <a:gd name="connsiteX10" fmla="*/ 5629275 w 5629275"/>
              <a:gd name="connsiteY10" fmla="*/ 6858000 h 6858000"/>
              <a:gd name="connsiteX11" fmla="*/ 0 w 5629275"/>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9275" h="6858000">
                <a:moveTo>
                  <a:pt x="0" y="0"/>
                </a:moveTo>
                <a:lnTo>
                  <a:pt x="5629275" y="0"/>
                </a:lnTo>
                <a:lnTo>
                  <a:pt x="5629275" y="1423986"/>
                </a:lnTo>
                <a:lnTo>
                  <a:pt x="1566860" y="1423986"/>
                </a:lnTo>
                <a:lnTo>
                  <a:pt x="1566860" y="2709861"/>
                </a:lnTo>
                <a:lnTo>
                  <a:pt x="5072061" y="2709861"/>
                </a:lnTo>
                <a:lnTo>
                  <a:pt x="5072061" y="4204704"/>
                </a:lnTo>
                <a:lnTo>
                  <a:pt x="1566860" y="4204704"/>
                </a:lnTo>
                <a:lnTo>
                  <a:pt x="1566860" y="5386387"/>
                </a:lnTo>
                <a:lnTo>
                  <a:pt x="5629275" y="5386387"/>
                </a:lnTo>
                <a:lnTo>
                  <a:pt x="5629275" y="6858000"/>
                </a:lnTo>
                <a:lnTo>
                  <a:pt x="0" y="685800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a:t>Click to insert image</a:t>
            </a: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a:t>Set the scene.</a:t>
            </a:r>
            <a:br>
              <a:rPr lang="en-US"/>
            </a:br>
            <a:r>
              <a:rPr lang="en-US"/>
              <a:t>Cover the context.</a:t>
            </a:r>
          </a:p>
        </p:txBody>
      </p:sp>
      <p:sp>
        <p:nvSpPr>
          <p:cNvPr id="5" name="Text Placeholder 4">
            <a:extLst>
              <a:ext uri="{FF2B5EF4-FFF2-40B4-BE49-F238E27FC236}">
                <a16:creationId xmlns:a16="http://schemas.microsoft.com/office/drawing/2014/main" id="{D0E1206B-8429-4EF3-BAFD-1AE585D9C247}"/>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723744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s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126D42-B0E9-499F-A915-8A39956BF856}"/>
              </a:ext>
            </a:extLst>
          </p:cNvPr>
          <p:cNvGraphicFramePr>
            <a:graphicFrameLocks noChangeAspect="1"/>
          </p:cNvGraphicFramePr>
          <p:nvPr userDrawn="1">
            <p:custDataLst>
              <p:tags r:id="rId1"/>
            </p:custDataLst>
            <p:extLst>
              <p:ext uri="{D42A27DB-BD31-4B8C-83A1-F6EECF244321}">
                <p14:modId xmlns:p14="http://schemas.microsoft.com/office/powerpoint/2010/main" val="1566036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11126D42-B0E9-499F-A915-8A39956BF8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2BC96C-63C5-4844-96EE-D90D933B1DF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0" y="381000"/>
            <a:ext cx="5334001"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a:t>Make your case.</a:t>
            </a:r>
            <a:br>
              <a:rPr lang="en-US"/>
            </a:br>
            <a:r>
              <a:rPr lang="en-US"/>
              <a:t>Show the proof.</a:t>
            </a:r>
          </a:p>
        </p:txBody>
      </p:sp>
      <p:sp>
        <p:nvSpPr>
          <p:cNvPr id="17" name="Picture Placeholder 16">
            <a:extLst>
              <a:ext uri="{FF2B5EF4-FFF2-40B4-BE49-F238E27FC236}">
                <a16:creationId xmlns:a16="http://schemas.microsoft.com/office/drawing/2014/main" id="{81FB390D-B9A1-4431-8429-E440C2BE6863}"/>
              </a:ext>
            </a:extLst>
          </p:cNvPr>
          <p:cNvSpPr>
            <a:spLocks noGrp="1"/>
          </p:cNvSpPr>
          <p:nvPr>
            <p:ph type="pic" sz="quarter" idx="42" hasCustomPrompt="1"/>
          </p:nvPr>
        </p:nvSpPr>
        <p:spPr bwMode="gray">
          <a:xfrm>
            <a:off x="5726131" y="0"/>
            <a:ext cx="6465869" cy="6856413"/>
          </a:xfrm>
          <a:custGeom>
            <a:avLst/>
            <a:gdLst>
              <a:gd name="connsiteX0" fmla="*/ 3570285 w 6465869"/>
              <a:gd name="connsiteY0" fmla="*/ 2074129 h 6856413"/>
              <a:gd name="connsiteX1" fmla="*/ 2780173 w 6465869"/>
              <a:gd name="connsiteY1" fmla="*/ 3992705 h 6856413"/>
              <a:gd name="connsiteX2" fmla="*/ 4357474 w 6465869"/>
              <a:gd name="connsiteY2" fmla="*/ 3992705 h 6856413"/>
              <a:gd name="connsiteX3" fmla="*/ 2786873 w 6465869"/>
              <a:gd name="connsiteY3" fmla="*/ 0 h 6856413"/>
              <a:gd name="connsiteX4" fmla="*/ 4349150 w 6465869"/>
              <a:gd name="connsiteY4" fmla="*/ 0 h 6856413"/>
              <a:gd name="connsiteX5" fmla="*/ 6465869 w 6465869"/>
              <a:gd name="connsiteY5" fmla="*/ 5210627 h 6856413"/>
              <a:gd name="connsiteX6" fmla="*/ 6465869 w 6465869"/>
              <a:gd name="connsiteY6" fmla="*/ 6856413 h 6856413"/>
              <a:gd name="connsiteX7" fmla="*/ 5487503 w 6465869"/>
              <a:gd name="connsiteY7" fmla="*/ 6856413 h 6856413"/>
              <a:gd name="connsiteX8" fmla="*/ 4896573 w 6465869"/>
              <a:gd name="connsiteY8" fmla="*/ 5390820 h 6856413"/>
              <a:gd name="connsiteX9" fmla="*/ 2199618 w 6465869"/>
              <a:gd name="connsiteY9" fmla="*/ 5390820 h 6856413"/>
              <a:gd name="connsiteX10" fmla="*/ 1612707 w 6465869"/>
              <a:gd name="connsiteY10" fmla="*/ 6856413 h 6856413"/>
              <a:gd name="connsiteX11" fmla="*/ 0 w 6465869"/>
              <a:gd name="connsiteY11" fmla="*/ 6856413 h 685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65869" h="6856413">
                <a:moveTo>
                  <a:pt x="3570285" y="2074129"/>
                </a:moveTo>
                <a:lnTo>
                  <a:pt x="2780173" y="3992705"/>
                </a:lnTo>
                <a:lnTo>
                  <a:pt x="4357474" y="3992705"/>
                </a:lnTo>
                <a:close/>
                <a:moveTo>
                  <a:pt x="2786873" y="0"/>
                </a:moveTo>
                <a:lnTo>
                  <a:pt x="4349150" y="0"/>
                </a:lnTo>
                <a:lnTo>
                  <a:pt x="6465869" y="5210627"/>
                </a:lnTo>
                <a:lnTo>
                  <a:pt x="6465869" y="6856413"/>
                </a:lnTo>
                <a:lnTo>
                  <a:pt x="5487503" y="6856413"/>
                </a:lnTo>
                <a:lnTo>
                  <a:pt x="4896573" y="5390820"/>
                </a:lnTo>
                <a:lnTo>
                  <a:pt x="2199618" y="5390820"/>
                </a:lnTo>
                <a:lnTo>
                  <a:pt x="1612707" y="6856413"/>
                </a:lnTo>
                <a:lnTo>
                  <a:pt x="0" y="6856413"/>
                </a:lnTo>
                <a:close/>
              </a:path>
            </a:pathLst>
          </a:custGeom>
          <a:solidFill>
            <a:schemeClr val="bg1">
              <a:lumMod val="95000"/>
            </a:schemeClr>
          </a:solidFill>
        </p:spPr>
        <p:txBody>
          <a:bodyPr wrap="square" anchor="b">
            <a:noAutofit/>
          </a:bodyPr>
          <a:lstStyle>
            <a:lvl1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a:t>Click to insert image</a:t>
            </a:r>
          </a:p>
        </p:txBody>
      </p:sp>
      <p:sp>
        <p:nvSpPr>
          <p:cNvPr id="8" name="Text Placeholder 4">
            <a:extLst>
              <a:ext uri="{FF2B5EF4-FFF2-40B4-BE49-F238E27FC236}">
                <a16:creationId xmlns:a16="http://schemas.microsoft.com/office/drawing/2014/main" id="{4BEAD478-665D-496C-B00E-61831230A9ED}"/>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516488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76B111-B678-4C87-B9DB-258250659E9F}"/>
              </a:ext>
            </a:extLst>
          </p:cNvPr>
          <p:cNvGraphicFramePr>
            <a:graphicFrameLocks noChangeAspect="1"/>
          </p:cNvGraphicFramePr>
          <p:nvPr userDrawn="1">
            <p:custDataLst>
              <p:tags r:id="rId1"/>
            </p:custDataLst>
            <p:extLst>
              <p:ext uri="{D42A27DB-BD31-4B8C-83A1-F6EECF244321}">
                <p14:modId xmlns:p14="http://schemas.microsoft.com/office/powerpoint/2010/main" val="3719399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F776B111-B678-4C87-B9DB-258250659E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933C2C-4ED0-4B82-8997-E93AEB96EC5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6" name="Title 1">
            <a:extLst>
              <a:ext uri="{FF2B5EF4-FFF2-40B4-BE49-F238E27FC236}">
                <a16:creationId xmlns:a16="http://schemas.microsoft.com/office/drawing/2014/main" id="{C75495C2-4728-204B-897F-ADE6303F81B6}"/>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a:t>The ‘so what?’.</a:t>
            </a:r>
            <a:br>
              <a:rPr lang="en-US"/>
            </a:br>
            <a:r>
              <a:rPr lang="en-US"/>
              <a:t>How to make a change.</a:t>
            </a:r>
          </a:p>
        </p:txBody>
      </p:sp>
      <p:sp>
        <p:nvSpPr>
          <p:cNvPr id="14" name="Picture Placeholder 13">
            <a:extLst>
              <a:ext uri="{FF2B5EF4-FFF2-40B4-BE49-F238E27FC236}">
                <a16:creationId xmlns:a16="http://schemas.microsoft.com/office/drawing/2014/main" id="{9F682349-BFFC-4F99-8587-BDD310D19432}"/>
              </a:ext>
            </a:extLst>
          </p:cNvPr>
          <p:cNvSpPr>
            <a:spLocks noGrp="1"/>
          </p:cNvSpPr>
          <p:nvPr>
            <p:ph type="pic" sz="quarter" idx="42" hasCustomPrompt="1"/>
          </p:nvPr>
        </p:nvSpPr>
        <p:spPr bwMode="gray">
          <a:xfrm>
            <a:off x="6096000" y="1"/>
            <a:ext cx="6096000" cy="6856412"/>
          </a:xfrm>
          <a:custGeom>
            <a:avLst/>
            <a:gdLst>
              <a:gd name="connsiteX0" fmla="*/ 1514163 w 6096000"/>
              <a:gd name="connsiteY0" fmla="*/ 1272567 h 6856412"/>
              <a:gd name="connsiteX1" fmla="*/ 1514163 w 6096000"/>
              <a:gd name="connsiteY1" fmla="*/ 2918854 h 6856412"/>
              <a:gd name="connsiteX2" fmla="*/ 3141813 w 6096000"/>
              <a:gd name="connsiteY2" fmla="*/ 2918854 h 6856412"/>
              <a:gd name="connsiteX3" fmla="*/ 4300976 w 6096000"/>
              <a:gd name="connsiteY3" fmla="*/ 2074657 h 6856412"/>
              <a:gd name="connsiteX4" fmla="*/ 3141813 w 6096000"/>
              <a:gd name="connsiteY4" fmla="*/ 1272648 h 6856412"/>
              <a:gd name="connsiteX5" fmla="*/ 0 w 6096000"/>
              <a:gd name="connsiteY5" fmla="*/ 0 h 6856412"/>
              <a:gd name="connsiteX6" fmla="*/ 3371063 w 6096000"/>
              <a:gd name="connsiteY6" fmla="*/ 0 h 6856412"/>
              <a:gd name="connsiteX7" fmla="*/ 5764098 w 6096000"/>
              <a:gd name="connsiteY7" fmla="*/ 1914880 h 6856412"/>
              <a:gd name="connsiteX8" fmla="*/ 4473298 w 6096000"/>
              <a:gd name="connsiteY8" fmla="*/ 3946539 h 6856412"/>
              <a:gd name="connsiteX9" fmla="*/ 4067868 w 6096000"/>
              <a:gd name="connsiteY9" fmla="*/ 4051622 h 6856412"/>
              <a:gd name="connsiteX10" fmla="*/ 6096000 w 6096000"/>
              <a:gd name="connsiteY10" fmla="*/ 6743454 h 6856412"/>
              <a:gd name="connsiteX11" fmla="*/ 6096000 w 6096000"/>
              <a:gd name="connsiteY11" fmla="*/ 6856412 h 6856412"/>
              <a:gd name="connsiteX12" fmla="*/ 4434202 w 6096000"/>
              <a:gd name="connsiteY12" fmla="*/ 6856412 h 6856412"/>
              <a:gd name="connsiteX13" fmla="*/ 2428564 w 6096000"/>
              <a:gd name="connsiteY13" fmla="*/ 4203318 h 6856412"/>
              <a:gd name="connsiteX14" fmla="*/ 1514081 w 6096000"/>
              <a:gd name="connsiteY14" fmla="*/ 4203318 h 6856412"/>
              <a:gd name="connsiteX15" fmla="*/ 1514163 w 6096000"/>
              <a:gd name="connsiteY15" fmla="*/ 6856412 h 6856412"/>
              <a:gd name="connsiteX16" fmla="*/ 0 w 6096000"/>
              <a:gd name="connsiteY16" fmla="*/ 6856412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96000" h="6856412">
                <a:moveTo>
                  <a:pt x="1514163" y="1272567"/>
                </a:moveTo>
                <a:lnTo>
                  <a:pt x="1514163" y="2918854"/>
                </a:lnTo>
                <a:lnTo>
                  <a:pt x="3141813" y="2918854"/>
                </a:lnTo>
                <a:cubicBezTo>
                  <a:pt x="4117526" y="2918854"/>
                  <a:pt x="4300976" y="2462344"/>
                  <a:pt x="4300976" y="2074657"/>
                </a:cubicBezTo>
                <a:cubicBezTo>
                  <a:pt x="4300976" y="1664111"/>
                  <a:pt x="4089550" y="1272648"/>
                  <a:pt x="3141813" y="1272648"/>
                </a:cubicBezTo>
                <a:close/>
                <a:moveTo>
                  <a:pt x="0" y="0"/>
                </a:moveTo>
                <a:lnTo>
                  <a:pt x="3371063" y="0"/>
                </a:lnTo>
                <a:cubicBezTo>
                  <a:pt x="5093320" y="0"/>
                  <a:pt x="5764098" y="808058"/>
                  <a:pt x="5764098" y="1914880"/>
                </a:cubicBezTo>
                <a:cubicBezTo>
                  <a:pt x="5764098" y="2958727"/>
                  <a:pt x="5303162" y="3570018"/>
                  <a:pt x="4473298" y="3946539"/>
                </a:cubicBezTo>
                <a:cubicBezTo>
                  <a:pt x="4473298" y="3946539"/>
                  <a:pt x="4340686" y="3999770"/>
                  <a:pt x="4067868" y="4051622"/>
                </a:cubicBezTo>
                <a:lnTo>
                  <a:pt x="6096000" y="6743454"/>
                </a:lnTo>
                <a:lnTo>
                  <a:pt x="6096000" y="6856412"/>
                </a:lnTo>
                <a:lnTo>
                  <a:pt x="4434202" y="6856412"/>
                </a:lnTo>
                <a:lnTo>
                  <a:pt x="2428564" y="4203318"/>
                </a:lnTo>
                <a:lnTo>
                  <a:pt x="1514081" y="4203318"/>
                </a:lnTo>
                <a:lnTo>
                  <a:pt x="1514163" y="6856412"/>
                </a:lnTo>
                <a:lnTo>
                  <a:pt x="0" y="6856412"/>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a:t>Click to insert image</a:t>
            </a:r>
          </a:p>
        </p:txBody>
      </p:sp>
      <p:sp>
        <p:nvSpPr>
          <p:cNvPr id="8" name="Text Placeholder 4">
            <a:extLst>
              <a:ext uri="{FF2B5EF4-FFF2-40B4-BE49-F238E27FC236}">
                <a16:creationId xmlns:a16="http://schemas.microsoft.com/office/drawing/2014/main" id="{6ED46054-2F2F-486D-8E76-7CFB315D34E1}"/>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969207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422FD-F8A6-468E-BE3F-631D75B0D145}"/>
              </a:ext>
            </a:extLst>
          </p:cNvPr>
          <p:cNvGraphicFramePr>
            <a:graphicFrameLocks noChangeAspect="1"/>
          </p:cNvGraphicFramePr>
          <p:nvPr userDrawn="1">
            <p:custDataLst>
              <p:tags r:id="rId1"/>
            </p:custDataLst>
            <p:extLst>
              <p:ext uri="{D42A27DB-BD31-4B8C-83A1-F6EECF244321}">
                <p14:modId xmlns:p14="http://schemas.microsoft.com/office/powerpoint/2010/main" val="156936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D8C422FD-F8A6-468E-BE3F-631D75B0D1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B76641-2E82-4B63-93DA-5A86BD6B721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F01EA128-4E92-46A3-B8EE-474F087E3FF2}"/>
              </a:ext>
            </a:extLst>
          </p:cNvPr>
          <p:cNvSpPr/>
          <p:nvPr userDrawn="1"/>
        </p:nvSpPr>
        <p:spPr bwMode="gray">
          <a:xfrm>
            <a:off x="11064552" y="6536518"/>
            <a:ext cx="828092"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a:t>For further reading.</a:t>
            </a:r>
          </a:p>
        </p:txBody>
      </p:sp>
      <p:sp>
        <p:nvSpPr>
          <p:cNvPr id="15" name="Picture Placeholder 14">
            <a:extLst>
              <a:ext uri="{FF2B5EF4-FFF2-40B4-BE49-F238E27FC236}">
                <a16:creationId xmlns:a16="http://schemas.microsoft.com/office/drawing/2014/main" id="{59CAB22E-EAD9-4ABF-B95C-BC9F35E8C462}"/>
              </a:ext>
            </a:extLst>
          </p:cNvPr>
          <p:cNvSpPr>
            <a:spLocks noGrp="1"/>
          </p:cNvSpPr>
          <p:nvPr>
            <p:ph type="pic" sz="quarter" idx="42" hasCustomPrompt="1"/>
          </p:nvPr>
        </p:nvSpPr>
        <p:spPr bwMode="gray">
          <a:xfrm>
            <a:off x="6096000" y="2"/>
            <a:ext cx="6096000" cy="6857917"/>
          </a:xfrm>
          <a:custGeom>
            <a:avLst/>
            <a:gdLst>
              <a:gd name="connsiteX0" fmla="*/ 4601190 w 6096000"/>
              <a:gd name="connsiteY0" fmla="*/ 0 h 6857917"/>
              <a:gd name="connsiteX1" fmla="*/ 6096000 w 6096000"/>
              <a:gd name="connsiteY1" fmla="*/ 0 h 6857917"/>
              <a:gd name="connsiteX2" fmla="*/ 6096000 w 6096000"/>
              <a:gd name="connsiteY2" fmla="*/ 6857917 h 6857917"/>
              <a:gd name="connsiteX3" fmla="*/ 4618948 w 6096000"/>
              <a:gd name="connsiteY3" fmla="*/ 6857917 h 6857917"/>
              <a:gd name="connsiteX4" fmla="*/ 1584185 w 6096000"/>
              <a:gd name="connsiteY4" fmla="*/ 2803325 h 6857917"/>
              <a:gd name="connsiteX5" fmla="*/ 1580380 w 6096000"/>
              <a:gd name="connsiteY5" fmla="*/ 6857917 h 6857917"/>
              <a:gd name="connsiteX6" fmla="*/ 4651 w 6096000"/>
              <a:gd name="connsiteY6" fmla="*/ 6857917 h 6857917"/>
              <a:gd name="connsiteX7" fmla="*/ 0 w 6096000"/>
              <a:gd name="connsiteY7" fmla="*/ 2368 h 6857917"/>
              <a:gd name="connsiteX8" fmla="*/ 1551883 w 6096000"/>
              <a:gd name="connsiteY8" fmla="*/ 2368 h 6857917"/>
              <a:gd name="connsiteX9" fmla="*/ 4601190 w 6096000"/>
              <a:gd name="connsiteY9" fmla="*/ 4070490 h 68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17">
                <a:moveTo>
                  <a:pt x="4601190" y="0"/>
                </a:moveTo>
                <a:lnTo>
                  <a:pt x="6096000" y="0"/>
                </a:lnTo>
                <a:lnTo>
                  <a:pt x="6096000" y="6857917"/>
                </a:lnTo>
                <a:lnTo>
                  <a:pt x="4618948" y="6857917"/>
                </a:lnTo>
                <a:lnTo>
                  <a:pt x="1584185" y="2803325"/>
                </a:lnTo>
                <a:lnTo>
                  <a:pt x="1580380" y="6857917"/>
                </a:lnTo>
                <a:lnTo>
                  <a:pt x="4651" y="6857917"/>
                </a:lnTo>
                <a:lnTo>
                  <a:pt x="0" y="2368"/>
                </a:lnTo>
                <a:lnTo>
                  <a:pt x="1551883" y="2368"/>
                </a:lnTo>
                <a:lnTo>
                  <a:pt x="4601190" y="407049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a:t>Click to insert image</a:t>
            </a:r>
          </a:p>
        </p:txBody>
      </p:sp>
      <p:sp>
        <p:nvSpPr>
          <p:cNvPr id="9" name="Text Placeholder 4">
            <a:extLst>
              <a:ext uri="{FF2B5EF4-FFF2-40B4-BE49-F238E27FC236}">
                <a16:creationId xmlns:a16="http://schemas.microsoft.com/office/drawing/2014/main" id="{D3D351D1-FFB6-4227-9ADC-05525A9B855E}"/>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5701067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7080B1-814D-4356-94DB-71BD7ED1BF88}"/>
              </a:ext>
            </a:extLst>
          </p:cNvPr>
          <p:cNvGraphicFramePr>
            <a:graphicFrameLocks noChangeAspect="1"/>
          </p:cNvGraphicFramePr>
          <p:nvPr userDrawn="1">
            <p:custDataLst>
              <p:tags r:id="rId1"/>
            </p:custDataLst>
            <p:extLst>
              <p:ext uri="{D42A27DB-BD31-4B8C-83A1-F6EECF244321}">
                <p14:modId xmlns:p14="http://schemas.microsoft.com/office/powerpoint/2010/main" val="72803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8A7080B1-814D-4356-94DB-71BD7ED1BF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BD8039-0BD3-4061-81FD-CF887F58DFE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1" y="381000"/>
            <a:ext cx="5334000" cy="2670175"/>
          </a:xfrm>
        </p:spPr>
        <p:txBody>
          <a:bodyPr>
            <a:noAutofit/>
          </a:bodyPr>
          <a:lstStyle>
            <a:lvl1pPr marL="0" marR="0" indent="0" algn="l" defTabSz="914400" rtl="0" eaLnBrk="1" fontAlgn="auto" latinLnBrk="0" hangingPunct="1">
              <a:lnSpc>
                <a:spcPct val="90000"/>
              </a:lnSpc>
              <a:spcBef>
                <a:spcPts val="0"/>
              </a:spcBef>
              <a:spcAft>
                <a:spcPts val="600"/>
              </a:spcAft>
              <a:buClrTx/>
              <a:buSzTx/>
              <a:buFontTx/>
              <a:buNone/>
              <a:tabLst/>
              <a:defRPr lang="en-GB" sz="3800" b="1" smtClean="0">
                <a:solidFill>
                  <a:schemeClr val="tx2"/>
                </a:solidFill>
                <a:effectLst/>
              </a:defRPr>
            </a:lvl1pPr>
          </a:lstStyle>
          <a:p>
            <a:r>
              <a:rPr lang="en-US" b="1">
                <a:effectLst/>
                <a:latin typeface="Arial" panose="020B0604020202020204" pitchFamily="34" charset="0"/>
              </a:rPr>
              <a:t>Add an optional sub-chapter that supports the narrative</a:t>
            </a:r>
            <a:endParaRPr lang="en-US">
              <a:effectLst/>
              <a:latin typeface="Arial" panose="020B0604020202020204" pitchFamily="34" charset="0"/>
            </a:endParaRPr>
          </a:p>
        </p:txBody>
      </p:sp>
    </p:spTree>
    <p:extLst>
      <p:ext uri="{BB962C8B-B14F-4D97-AF65-F5344CB8AC3E}">
        <p14:creationId xmlns:p14="http://schemas.microsoft.com/office/powerpoint/2010/main" val="410316129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446ED1-B935-40E1-9636-4DD03C1D7CE5}"/>
              </a:ext>
            </a:extLst>
          </p:cNvPr>
          <p:cNvGraphicFramePr>
            <a:graphicFrameLocks noChangeAspect="1"/>
          </p:cNvGraphicFramePr>
          <p:nvPr userDrawn="1">
            <p:custDataLst>
              <p:tags r:id="rId1"/>
            </p:custDataLst>
            <p:extLst>
              <p:ext uri="{D42A27DB-BD31-4B8C-83A1-F6EECF244321}">
                <p14:modId xmlns:p14="http://schemas.microsoft.com/office/powerpoint/2010/main" val="276406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18446ED1-B935-40E1-9636-4DD03C1D7C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4F1CC-BBCD-4AD6-9A7C-137FEFA779A3}"/>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1AE1E5AF-43EF-49CD-A70B-FBA2BCAA3FE6}"/>
              </a:ext>
            </a:extLst>
          </p:cNvPr>
          <p:cNvSpPr>
            <a:spLocks noGrp="1"/>
          </p:cNvSpPr>
          <p:nvPr>
            <p:ph type="title" hasCustomPrompt="1"/>
          </p:nvPr>
        </p:nvSpPr>
        <p:spPr bwMode="gray">
          <a:xfrm>
            <a:off x="381000" y="381000"/>
            <a:ext cx="2286000" cy="2215991"/>
          </a:xfrm>
        </p:spPr>
        <p:txBody>
          <a:bodyPr/>
          <a:lstStyle>
            <a:lvl1pPr>
              <a:defRPr/>
            </a:lvl1pPr>
          </a:lstStyle>
          <a:p>
            <a:r>
              <a:rPr lang="en-US"/>
              <a:t>Key message. </a:t>
            </a:r>
            <a:br>
              <a:rPr lang="en-US"/>
            </a:br>
            <a:r>
              <a:rPr lang="en-US"/>
              <a:t>If the audience reads just this, it will be enough. Make every word count. Say it like you would in the room.</a:t>
            </a:r>
          </a:p>
        </p:txBody>
      </p:sp>
    </p:spTree>
    <p:extLst>
      <p:ext uri="{BB962C8B-B14F-4D97-AF65-F5344CB8AC3E}">
        <p14:creationId xmlns:p14="http://schemas.microsoft.com/office/powerpoint/2010/main" val="121393730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1BB6C3-85C0-4D78-A335-487D253A70CD}"/>
              </a:ext>
            </a:extLst>
          </p:cNvPr>
          <p:cNvGraphicFramePr>
            <a:graphicFrameLocks noChangeAspect="1"/>
          </p:cNvGraphicFramePr>
          <p:nvPr userDrawn="1">
            <p:custDataLst>
              <p:tags r:id="rId19"/>
            </p:custDataLst>
            <p:extLst>
              <p:ext uri="{D42A27DB-BD31-4B8C-83A1-F6EECF244321}">
                <p14:modId xmlns:p14="http://schemas.microsoft.com/office/powerpoint/2010/main" val="359040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3" progId="TCLayout.ActiveDocument.1">
                  <p:embed/>
                </p:oleObj>
              </mc:Choice>
              <mc:Fallback>
                <p:oleObj name="think-cell Slide" r:id="rId21" imgW="473" imgH="473" progId="TCLayout.ActiveDocument.1">
                  <p:embed/>
                  <p:pic>
                    <p:nvPicPr>
                      <p:cNvPr id="5" name="Object 4" hidden="1">
                        <a:extLst>
                          <a:ext uri="{FF2B5EF4-FFF2-40B4-BE49-F238E27FC236}">
                            <a16:creationId xmlns:a16="http://schemas.microsoft.com/office/drawing/2014/main" id="{8D1BB6C3-85C0-4D78-A335-487D253A70CD}"/>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01742A-C2C4-4349-BA00-741293CB36A4}"/>
              </a:ext>
            </a:extLst>
          </p:cNvPr>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0368699-BA99-E84F-AB32-4E762B32A26B}"/>
              </a:ext>
            </a:extLst>
          </p:cNvPr>
          <p:cNvSpPr/>
          <p:nvPr userDrawn="1"/>
        </p:nvSpPr>
        <p:spPr bwMode="gray">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Placeholder 1">
            <a:extLst>
              <a:ext uri="{FF2B5EF4-FFF2-40B4-BE49-F238E27FC236}">
                <a16:creationId xmlns:a16="http://schemas.microsoft.com/office/drawing/2014/main" id="{904B5871-DB92-6F46-AA38-789E9F5528BB}"/>
              </a:ext>
            </a:extLst>
          </p:cNvPr>
          <p:cNvSpPr>
            <a:spLocks noGrp="1"/>
          </p:cNvSpPr>
          <p:nvPr>
            <p:ph type="title"/>
          </p:nvPr>
        </p:nvSpPr>
        <p:spPr bwMode="gray">
          <a:xfrm>
            <a:off x="381000" y="381000"/>
            <a:ext cx="2286000" cy="2215991"/>
          </a:xfrm>
          <a:prstGeom prst="rect">
            <a:avLst/>
          </a:prstGeom>
        </p:spPr>
        <p:txBody>
          <a:bodyPr vert="horz" wrap="square" lIns="0" tIns="0" rIns="0" bIns="0" rtlCol="0" anchor="t" anchorCtr="0">
            <a:noAutofit/>
          </a:bodyPr>
          <a:lstStyle/>
          <a:p>
            <a:r>
              <a:rPr lang="en-US"/>
              <a:t>Key message. </a:t>
            </a:r>
            <a:br>
              <a:rPr lang="en-US"/>
            </a:br>
            <a:r>
              <a:rPr lang="en-US"/>
              <a:t>If the audience reads just this, it will be enough. Make every word count. Say it like you would in the room.</a:t>
            </a:r>
            <a:endParaRPr lang="en-US" noProof="0"/>
          </a:p>
        </p:txBody>
      </p:sp>
      <p:sp>
        <p:nvSpPr>
          <p:cNvPr id="3" name="Text Placeholder 2">
            <a:extLst>
              <a:ext uri="{FF2B5EF4-FFF2-40B4-BE49-F238E27FC236}">
                <a16:creationId xmlns:a16="http://schemas.microsoft.com/office/drawing/2014/main" id="{BA6AB4B1-7789-CE46-95B2-2777D779360B}"/>
              </a:ext>
            </a:extLst>
          </p:cNvPr>
          <p:cNvSpPr>
            <a:spLocks noGrp="1"/>
          </p:cNvSpPr>
          <p:nvPr>
            <p:ph type="body" idx="1"/>
          </p:nvPr>
        </p:nvSpPr>
        <p:spPr bwMode="gray">
          <a:xfrm>
            <a:off x="3429000" y="381000"/>
            <a:ext cx="8378824" cy="5715000"/>
          </a:xfrm>
          <a:prstGeom prst="rect">
            <a:avLst/>
          </a:prstGeom>
        </p:spPr>
        <p:txBody>
          <a:bodyPr vert="horz" lIns="0" tIns="0" rIns="0" bIns="0" rtlCol="0">
            <a:noAutofit/>
          </a:bodyPr>
          <a:lstStyle/>
          <a:p>
            <a:pPr marL="0" lvl="0" indent="0" algn="l" defTabSz="914400" rtl="0" eaLnBrk="1" latinLnBrk="0" hangingPunct="1">
              <a:lnSpc>
                <a:spcPct val="90000"/>
              </a:lnSpc>
              <a:spcBef>
                <a:spcPts val="600"/>
              </a:spcBef>
              <a:spcAft>
                <a:spcPts val="600"/>
              </a:spcAft>
              <a:buFont typeface="Arial" panose="020B0604020202020204" pitchFamily="34" charset="0"/>
              <a:buNone/>
            </a:pPr>
            <a:r>
              <a:rPr lang="en-US" noProof="0"/>
              <a:t>This is where you make your case with relevant evidence and information. Keep sentences concise. Avoid jargon and repetition.</a:t>
            </a:r>
          </a:p>
          <a:p>
            <a:pPr lvl="1"/>
            <a:r>
              <a:rPr lang="en-US" noProof="0"/>
              <a:t>Bullet 1: Second level</a:t>
            </a:r>
          </a:p>
          <a:p>
            <a:pPr lvl="2"/>
            <a:r>
              <a:rPr lang="en-US" noProof="0"/>
              <a:t>Bullet 2: Third level</a:t>
            </a:r>
          </a:p>
          <a:p>
            <a:pPr lvl="3"/>
            <a:r>
              <a:rPr lang="en-US" noProof="0"/>
              <a:t>Bullet 3: Fourth level</a:t>
            </a:r>
          </a:p>
          <a:p>
            <a:pPr lvl="4"/>
            <a:r>
              <a:rPr lang="en-US" noProof="0"/>
              <a:t>Bullet 4: Fifth level</a:t>
            </a:r>
          </a:p>
        </p:txBody>
      </p:sp>
      <p:sp>
        <p:nvSpPr>
          <p:cNvPr id="17" name="TextBox 16">
            <a:extLst>
              <a:ext uri="{FF2B5EF4-FFF2-40B4-BE49-F238E27FC236}">
                <a16:creationId xmlns:a16="http://schemas.microsoft.com/office/drawing/2014/main" id="{37B123F1-21A1-48A2-A775-C2EFC581200F}"/>
              </a:ext>
            </a:extLst>
          </p:cNvPr>
          <p:cNvSpPr txBox="1"/>
          <p:nvPr userDrawn="1"/>
        </p:nvSpPr>
        <p:spPr bwMode="gray">
          <a:xfrm>
            <a:off x="11209338" y="6572250"/>
            <a:ext cx="598486" cy="152400"/>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5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rPr>
              <a:t>Kearney XX/ID</a:t>
            </a:r>
          </a:p>
        </p:txBody>
      </p:sp>
      <p:sp>
        <p:nvSpPr>
          <p:cNvPr id="21" name="TextBox 20">
            <a:extLst>
              <a:ext uri="{FF2B5EF4-FFF2-40B4-BE49-F238E27FC236}">
                <a16:creationId xmlns:a16="http://schemas.microsoft.com/office/drawing/2014/main" id="{FBD2AA55-AD71-458E-AB53-14B489582B00}"/>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a:solidFill>
                <a:schemeClr val="tx1">
                  <a:lumMod val="100000"/>
                </a:schemeClr>
              </a:solidFill>
              <a:latin typeface="Arial" panose="020B0604020202020204" pitchFamily="34" charset="0"/>
            </a:endParaRPr>
          </a:p>
        </p:txBody>
      </p:sp>
      <p:pic>
        <p:nvPicPr>
          <p:cNvPr id="18" name="Picture 17">
            <a:extLst>
              <a:ext uri="{FF2B5EF4-FFF2-40B4-BE49-F238E27FC236}">
                <a16:creationId xmlns:a16="http://schemas.microsoft.com/office/drawing/2014/main" id="{6E275BC7-1864-4368-837C-F720968391FD}"/>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bwMode="gray">
          <a:xfrm>
            <a:off x="762000" y="6384543"/>
            <a:ext cx="765175" cy="92112"/>
          </a:xfrm>
          <a:prstGeom prst="rect">
            <a:avLst/>
          </a:prstGeom>
        </p:spPr>
      </p:pic>
    </p:spTree>
    <p:extLst>
      <p:ext uri="{BB962C8B-B14F-4D97-AF65-F5344CB8AC3E}">
        <p14:creationId xmlns:p14="http://schemas.microsoft.com/office/powerpoint/2010/main" val="222185785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Lst>
  <p:hf hdr="0" ftr="0" dt="0"/>
  <p:txStyles>
    <p:title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B4B4B4"/>
          </p15:clr>
        </p15:guide>
        <p15:guide id="2" orient="horz" pos="480">
          <p15:clr>
            <a:srgbClr val="B4B4B4"/>
          </p15:clr>
        </p15:guide>
        <p15:guide id="3" orient="horz" pos="720">
          <p15:clr>
            <a:srgbClr val="B4B4B4"/>
          </p15:clr>
        </p15:guide>
        <p15:guide id="4" orient="horz" pos="960">
          <p15:clr>
            <a:srgbClr val="B4B4B4"/>
          </p15:clr>
        </p15:guide>
        <p15:guide id="5" orient="horz" pos="1200">
          <p15:clr>
            <a:srgbClr val="B4B4B4"/>
          </p15:clr>
        </p15:guide>
        <p15:guide id="6" orient="horz" pos="1440">
          <p15:clr>
            <a:srgbClr val="B4B4B4"/>
          </p15:clr>
        </p15:guide>
        <p15:guide id="7" orient="horz" pos="1680">
          <p15:clr>
            <a:srgbClr val="B4B4B4"/>
          </p15:clr>
        </p15:guide>
        <p15:guide id="8" orient="horz" pos="1920">
          <p15:clr>
            <a:srgbClr val="B4B4B4"/>
          </p15:clr>
        </p15:guide>
        <p15:guide id="9" orient="horz" pos="2160">
          <p15:clr>
            <a:srgbClr val="B4B4B4"/>
          </p15:clr>
        </p15:guide>
        <p15:guide id="10" orient="horz" pos="2400">
          <p15:clr>
            <a:srgbClr val="B4B4B4"/>
          </p15:clr>
        </p15:guide>
        <p15:guide id="11" orient="horz" pos="2640">
          <p15:clr>
            <a:srgbClr val="B4B4B4"/>
          </p15:clr>
        </p15:guide>
        <p15:guide id="12" orient="horz" pos="2880">
          <p15:clr>
            <a:srgbClr val="B4B4B4"/>
          </p15:clr>
        </p15:guide>
        <p15:guide id="13" orient="horz" pos="3120">
          <p15:clr>
            <a:srgbClr val="B4B4B4"/>
          </p15:clr>
        </p15:guide>
        <p15:guide id="14" orient="horz" pos="3360">
          <p15:clr>
            <a:srgbClr val="B4B4B4"/>
          </p15:clr>
        </p15:guide>
        <p15:guide id="15" orient="horz" pos="3600">
          <p15:clr>
            <a:srgbClr val="B4B4B4"/>
          </p15:clr>
        </p15:guide>
        <p15:guide id="16" orient="horz" pos="3840">
          <p15:clr>
            <a:srgbClr val="B4B4B4"/>
          </p15:clr>
        </p15:guide>
        <p15:guide id="17" orient="horz" pos="4080">
          <p15:clr>
            <a:srgbClr val="B4B4B4"/>
          </p15:clr>
        </p15:guide>
        <p15:guide id="18" orient="horz" pos="4320">
          <p15:clr>
            <a:srgbClr val="B4B4B4"/>
          </p15:clr>
        </p15:guide>
        <p15:guide id="19" pos="240">
          <p15:clr>
            <a:srgbClr val="B4B4B4"/>
          </p15:clr>
        </p15:guide>
        <p15:guide id="20" pos="480">
          <p15:clr>
            <a:srgbClr val="B4B4B4"/>
          </p15:clr>
        </p15:guide>
        <p15:guide id="21" pos="720">
          <p15:clr>
            <a:srgbClr val="B4B4B4"/>
          </p15:clr>
        </p15:guide>
        <p15:guide id="22" pos="960">
          <p15:clr>
            <a:srgbClr val="B4B4B4"/>
          </p15:clr>
        </p15:guide>
        <p15:guide id="23" pos="1200">
          <p15:clr>
            <a:srgbClr val="B4B4B4"/>
          </p15:clr>
        </p15:guide>
        <p15:guide id="24" pos="1440">
          <p15:clr>
            <a:srgbClr val="B4B4B4"/>
          </p15:clr>
        </p15:guide>
        <p15:guide id="25" pos="1680">
          <p15:clr>
            <a:srgbClr val="B4B4B4"/>
          </p15:clr>
        </p15:guide>
        <p15:guide id="26" pos="1920">
          <p15:clr>
            <a:srgbClr val="B4B4B4"/>
          </p15:clr>
        </p15:guide>
        <p15:guide id="27" pos="2160">
          <p15:clr>
            <a:srgbClr val="B4B4B4"/>
          </p15:clr>
        </p15:guide>
        <p15:guide id="28" pos="2400">
          <p15:clr>
            <a:srgbClr val="B4B4B4"/>
          </p15:clr>
        </p15:guide>
        <p15:guide id="29" pos="2640">
          <p15:clr>
            <a:srgbClr val="B4B4B4"/>
          </p15:clr>
        </p15:guide>
        <p15:guide id="30" pos="2880">
          <p15:clr>
            <a:srgbClr val="B4B4B4"/>
          </p15:clr>
        </p15:guide>
        <p15:guide id="31" pos="3120">
          <p15:clr>
            <a:srgbClr val="B4B4B4"/>
          </p15:clr>
        </p15:guide>
        <p15:guide id="32" pos="3360">
          <p15:clr>
            <a:srgbClr val="B4B4B4"/>
          </p15:clr>
        </p15:guide>
        <p15:guide id="33" pos="3600">
          <p15:clr>
            <a:srgbClr val="B4B4B4"/>
          </p15:clr>
        </p15:guide>
        <p15:guide id="34" pos="3840">
          <p15:clr>
            <a:srgbClr val="B4B4B4"/>
          </p15:clr>
        </p15:guide>
        <p15:guide id="35" pos="4080">
          <p15:clr>
            <a:srgbClr val="B4B4B4"/>
          </p15:clr>
        </p15:guide>
        <p15:guide id="36" pos="4320">
          <p15:clr>
            <a:srgbClr val="B4B4B4"/>
          </p15:clr>
        </p15:guide>
        <p15:guide id="37" pos="4560">
          <p15:clr>
            <a:srgbClr val="B4B4B4"/>
          </p15:clr>
        </p15:guide>
        <p15:guide id="38" pos="4800">
          <p15:clr>
            <a:srgbClr val="B4B4B4"/>
          </p15:clr>
        </p15:guide>
        <p15:guide id="39" pos="5040">
          <p15:clr>
            <a:srgbClr val="B4B4B4"/>
          </p15:clr>
        </p15:guide>
        <p15:guide id="40" pos="5280">
          <p15:clr>
            <a:srgbClr val="B4B4B4"/>
          </p15:clr>
        </p15:guide>
        <p15:guide id="41" pos="5520">
          <p15:clr>
            <a:srgbClr val="B4B4B4"/>
          </p15:clr>
        </p15:guide>
        <p15:guide id="42" pos="5760">
          <p15:clr>
            <a:srgbClr val="B4B4B4"/>
          </p15:clr>
        </p15:guide>
        <p15:guide id="43" pos="6000">
          <p15:clr>
            <a:srgbClr val="B4B4B4"/>
          </p15:clr>
        </p15:guide>
        <p15:guide id="44" pos="6240">
          <p15:clr>
            <a:srgbClr val="B4B4B4"/>
          </p15:clr>
        </p15:guide>
        <p15:guide id="45" pos="6480">
          <p15:clr>
            <a:srgbClr val="B4B4B4"/>
          </p15:clr>
        </p15:guide>
        <p15:guide id="46" pos="6720">
          <p15:clr>
            <a:srgbClr val="B4B4B4"/>
          </p15:clr>
        </p15:guide>
        <p15:guide id="47" pos="6960">
          <p15:clr>
            <a:srgbClr val="B4B4B4"/>
          </p15:clr>
        </p15:guide>
        <p15:guide id="48" pos="7200">
          <p15:clr>
            <a:srgbClr val="B4B4B4"/>
          </p15:clr>
        </p15:guide>
        <p15:guide id="49" pos="7440">
          <p15:clr>
            <a:srgbClr val="B4B4B4"/>
          </p15:clr>
        </p15:guide>
        <p15:guide id="50" pos="7680">
          <p15:clr>
            <a:srgbClr val="B4B4B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21" Type="http://schemas.openxmlformats.org/officeDocument/2006/relationships/tags" Target="../tags/tag90.xml"/><Relationship Id="rId34" Type="http://schemas.openxmlformats.org/officeDocument/2006/relationships/image" Target="../media/image2.emf"/><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slide" Target="slide24.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slideLayout" Target="../slideLayouts/slideLayout16.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image" Target="../media/image55.emf"/><Relationship Id="rId37" Type="http://schemas.openxmlformats.org/officeDocument/2006/relationships/chart" Target="../charts/chart5.xml"/><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chart" Target="../charts/chart4.xml"/><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oleObject" Target="../embeddings/oleObject21.bin"/><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notesSlide" Target="../notesSlides/notesSlide7.xml"/><Relationship Id="rId35" Type="http://schemas.openxmlformats.org/officeDocument/2006/relationships/chart" Target="../charts/chart3.xml"/><Relationship Id="rId8" Type="http://schemas.openxmlformats.org/officeDocument/2006/relationships/tags" Target="../tags/tag77.xml"/><Relationship Id="rId3" Type="http://schemas.openxmlformats.org/officeDocument/2006/relationships/tags" Target="../tags/tag7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98.xml"/><Relationship Id="rId6" Type="http://schemas.openxmlformats.org/officeDocument/2006/relationships/image" Target="../media/image8.jpeg"/><Relationship Id="rId5" Type="http://schemas.openxmlformats.org/officeDocument/2006/relationships/image" Target="../media/image9.emf"/><Relationship Id="rId4" Type="http://schemas.openxmlformats.org/officeDocument/2006/relationships/oleObject" Target="../embeddings/oleObject22.bin"/></Relationships>
</file>

<file path=ppt/slides/_rels/slide12.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3.png"/><Relationship Id="rId3" Type="http://schemas.openxmlformats.org/officeDocument/2006/relationships/notesSlide" Target="../notesSlides/notesSlide9.xml"/><Relationship Id="rId7" Type="http://schemas.openxmlformats.org/officeDocument/2006/relationships/image" Target="../media/image57.svg"/><Relationship Id="rId12" Type="http://schemas.openxmlformats.org/officeDocument/2006/relationships/image" Target="../media/image62.svg"/><Relationship Id="rId2" Type="http://schemas.openxmlformats.org/officeDocument/2006/relationships/slideLayout" Target="../slideLayouts/slideLayout9.xml"/><Relationship Id="rId1" Type="http://schemas.openxmlformats.org/officeDocument/2006/relationships/tags" Target="../tags/tag99.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emf"/><Relationship Id="rId10" Type="http://schemas.openxmlformats.org/officeDocument/2006/relationships/image" Target="../media/image60.svg"/><Relationship Id="rId4" Type="http://schemas.openxmlformats.org/officeDocument/2006/relationships/oleObject" Target="../embeddings/oleObject23.bin"/><Relationship Id="rId9" Type="http://schemas.openxmlformats.org/officeDocument/2006/relationships/image" Target="../media/image59.png"/><Relationship Id="rId14" Type="http://schemas.openxmlformats.org/officeDocument/2006/relationships/image" Target="../media/image64.svg"/></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svg"/><Relationship Id="rId3" Type="http://schemas.openxmlformats.org/officeDocument/2006/relationships/notesSlide" Target="../notesSlides/notesSlide10.xml"/><Relationship Id="rId7" Type="http://schemas.openxmlformats.org/officeDocument/2006/relationships/image" Target="../media/image66.svg"/><Relationship Id="rId12" Type="http://schemas.openxmlformats.org/officeDocument/2006/relationships/image" Target="../media/image71.png"/><Relationship Id="rId2" Type="http://schemas.openxmlformats.org/officeDocument/2006/relationships/slideLayout" Target="../slideLayouts/slideLayout16.xml"/><Relationship Id="rId1" Type="http://schemas.openxmlformats.org/officeDocument/2006/relationships/tags" Target="../tags/tag100.xml"/><Relationship Id="rId6" Type="http://schemas.openxmlformats.org/officeDocument/2006/relationships/image" Target="../media/image65.png"/><Relationship Id="rId11" Type="http://schemas.openxmlformats.org/officeDocument/2006/relationships/image" Target="../media/image70.svg"/><Relationship Id="rId5" Type="http://schemas.openxmlformats.org/officeDocument/2006/relationships/image" Target="../media/image55.emf"/><Relationship Id="rId15" Type="http://schemas.openxmlformats.org/officeDocument/2006/relationships/image" Target="../media/image74.svg"/><Relationship Id="rId10" Type="http://schemas.openxmlformats.org/officeDocument/2006/relationships/image" Target="../media/image69.png"/><Relationship Id="rId4" Type="http://schemas.openxmlformats.org/officeDocument/2006/relationships/oleObject" Target="../embeddings/oleObject24.bin"/><Relationship Id="rId9" Type="http://schemas.openxmlformats.org/officeDocument/2006/relationships/image" Target="../media/image68.svg"/><Relationship Id="rId14" Type="http://schemas.openxmlformats.org/officeDocument/2006/relationships/image" Target="../media/image73.png"/></Relationships>
</file>

<file path=ppt/slides/_rels/slide14.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notesSlide" Target="../notesSlides/notesSlide11.xml"/><Relationship Id="rId7" Type="http://schemas.openxmlformats.org/officeDocument/2006/relationships/image" Target="../media/image76.svg"/><Relationship Id="rId12" Type="http://schemas.openxmlformats.org/officeDocument/2006/relationships/image" Target="../media/image81.png"/><Relationship Id="rId2" Type="http://schemas.openxmlformats.org/officeDocument/2006/relationships/slideLayout" Target="../slideLayouts/slideLayout9.xml"/><Relationship Id="rId16" Type="http://schemas.openxmlformats.org/officeDocument/2006/relationships/slide" Target="slide25.xml"/><Relationship Id="rId1" Type="http://schemas.openxmlformats.org/officeDocument/2006/relationships/tags" Target="../tags/tag101.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55.emf"/><Relationship Id="rId15" Type="http://schemas.openxmlformats.org/officeDocument/2006/relationships/image" Target="../media/image84.svg"/><Relationship Id="rId10" Type="http://schemas.openxmlformats.org/officeDocument/2006/relationships/image" Target="../media/image79.png"/><Relationship Id="rId4" Type="http://schemas.openxmlformats.org/officeDocument/2006/relationships/oleObject" Target="../embeddings/oleObject25.bin"/><Relationship Id="rId9" Type="http://schemas.openxmlformats.org/officeDocument/2006/relationships/image" Target="../media/image78.svg"/><Relationship Id="rId14" Type="http://schemas.openxmlformats.org/officeDocument/2006/relationships/image" Target="../media/image8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02.xml"/><Relationship Id="rId6" Type="http://schemas.openxmlformats.org/officeDocument/2006/relationships/image" Target="../media/image85.jpeg"/><Relationship Id="rId5" Type="http://schemas.openxmlformats.org/officeDocument/2006/relationships/image" Target="../media/image55.emf"/><Relationship Id="rId4" Type="http://schemas.openxmlformats.org/officeDocument/2006/relationships/oleObject" Target="../embeddings/oleObject26.bin"/></Relationships>
</file>

<file path=ppt/slides/_rels/slide16.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svg"/><Relationship Id="rId3" Type="http://schemas.openxmlformats.org/officeDocument/2006/relationships/notesSlide" Target="../notesSlides/notesSlide13.xml"/><Relationship Id="rId7" Type="http://schemas.openxmlformats.org/officeDocument/2006/relationships/image" Target="../media/image87.svg"/><Relationship Id="rId12" Type="http://schemas.openxmlformats.org/officeDocument/2006/relationships/image" Target="../media/image92.png"/><Relationship Id="rId2" Type="http://schemas.openxmlformats.org/officeDocument/2006/relationships/slideLayout" Target="../slideLayouts/slideLayout9.xml"/><Relationship Id="rId1" Type="http://schemas.openxmlformats.org/officeDocument/2006/relationships/tags" Target="../tags/tag103.xml"/><Relationship Id="rId6" Type="http://schemas.openxmlformats.org/officeDocument/2006/relationships/image" Target="../media/image86.png"/><Relationship Id="rId11" Type="http://schemas.openxmlformats.org/officeDocument/2006/relationships/image" Target="../media/image91.svg"/><Relationship Id="rId5" Type="http://schemas.openxmlformats.org/officeDocument/2006/relationships/image" Target="../media/image55.emf"/><Relationship Id="rId10" Type="http://schemas.openxmlformats.org/officeDocument/2006/relationships/image" Target="../media/image90.png"/><Relationship Id="rId4" Type="http://schemas.openxmlformats.org/officeDocument/2006/relationships/oleObject" Target="../embeddings/oleObject27.bin"/><Relationship Id="rId9" Type="http://schemas.openxmlformats.org/officeDocument/2006/relationships/image" Target="../media/image89.svg"/><Relationship Id="rId14" Type="http://schemas.openxmlformats.org/officeDocument/2006/relationships/image" Target="../media/image94.jpeg"/></Relationships>
</file>

<file path=ppt/slides/_rels/slide17.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svg"/><Relationship Id="rId18" Type="http://schemas.openxmlformats.org/officeDocument/2006/relationships/image" Target="../media/image107.png"/><Relationship Id="rId3" Type="http://schemas.openxmlformats.org/officeDocument/2006/relationships/notesSlide" Target="../notesSlides/notesSlide14.xml"/><Relationship Id="rId21" Type="http://schemas.openxmlformats.org/officeDocument/2006/relationships/image" Target="../media/image110.svg"/><Relationship Id="rId7" Type="http://schemas.openxmlformats.org/officeDocument/2006/relationships/image" Target="../media/image96.svg"/><Relationship Id="rId12" Type="http://schemas.openxmlformats.org/officeDocument/2006/relationships/image" Target="../media/image101.png"/><Relationship Id="rId17" Type="http://schemas.openxmlformats.org/officeDocument/2006/relationships/image" Target="../media/image106.svg"/><Relationship Id="rId2" Type="http://schemas.openxmlformats.org/officeDocument/2006/relationships/slideLayout" Target="../slideLayouts/slideLayout9.xml"/><Relationship Id="rId16" Type="http://schemas.openxmlformats.org/officeDocument/2006/relationships/image" Target="../media/image105.png"/><Relationship Id="rId20" Type="http://schemas.openxmlformats.org/officeDocument/2006/relationships/image" Target="../media/image109.png"/><Relationship Id="rId1" Type="http://schemas.openxmlformats.org/officeDocument/2006/relationships/tags" Target="../tags/tag104.xml"/><Relationship Id="rId6" Type="http://schemas.openxmlformats.org/officeDocument/2006/relationships/image" Target="../media/image95.png"/><Relationship Id="rId11" Type="http://schemas.openxmlformats.org/officeDocument/2006/relationships/image" Target="../media/image100.svg"/><Relationship Id="rId5" Type="http://schemas.openxmlformats.org/officeDocument/2006/relationships/image" Target="../media/image55.emf"/><Relationship Id="rId15" Type="http://schemas.openxmlformats.org/officeDocument/2006/relationships/image" Target="../media/image104.svg"/><Relationship Id="rId10" Type="http://schemas.openxmlformats.org/officeDocument/2006/relationships/image" Target="../media/image99.png"/><Relationship Id="rId19" Type="http://schemas.openxmlformats.org/officeDocument/2006/relationships/image" Target="../media/image108.svg"/><Relationship Id="rId4" Type="http://schemas.openxmlformats.org/officeDocument/2006/relationships/oleObject" Target="../embeddings/oleObject28.bin"/><Relationship Id="rId9" Type="http://schemas.openxmlformats.org/officeDocument/2006/relationships/image" Target="../media/image98.svg"/><Relationship Id="rId14" Type="http://schemas.openxmlformats.org/officeDocument/2006/relationships/image" Target="../media/image103.png"/></Relationships>
</file>

<file path=ppt/slides/_rels/slide1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chart" Target="../charts/chart6.xml"/><Relationship Id="rId1" Type="http://schemas.openxmlformats.org/officeDocument/2006/relationships/slideLayout" Target="../slideLayouts/slideLayout9.xml"/><Relationship Id="rId6" Type="http://schemas.openxmlformats.org/officeDocument/2006/relationships/slide" Target="slide24.xml"/><Relationship Id="rId5" Type="http://schemas.openxmlformats.org/officeDocument/2006/relationships/slide" Target="slide6.xml"/><Relationship Id="rId4" Type="http://schemas.openxmlformats.org/officeDocument/2006/relationships/chart" Target="../charts/chart7.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svg"/><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4.bin"/><Relationship Id="rId9" Type="http://schemas.openxmlformats.org/officeDocument/2006/relationships/image" Target="../media/image13.svg"/></Relationships>
</file>

<file path=ppt/slides/_rels/slide20.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slide" Target="slide24.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slide" Target="slide24.xml"/><Relationship Id="rId4" Type="http://schemas.openxmlformats.org/officeDocument/2006/relationships/slide" Target="slide8.xml"/></Relationships>
</file>

<file path=ppt/slides/_rels/slide22.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slide" Target="slide24.xml"/><Relationship Id="rId2" Type="http://schemas.openxmlformats.org/officeDocument/2006/relationships/slideLayout" Target="../slideLayouts/slideLayout9.xml"/><Relationship Id="rId1" Type="http://schemas.openxmlformats.org/officeDocument/2006/relationships/tags" Target="../tags/tag105.xml"/><Relationship Id="rId6" Type="http://schemas.openxmlformats.org/officeDocument/2006/relationships/slide" Target="slide9.xml"/><Relationship Id="rId5" Type="http://schemas.openxmlformats.org/officeDocument/2006/relationships/image" Target="../media/image114.png"/><Relationship Id="rId4" Type="http://schemas.openxmlformats.org/officeDocument/2006/relationships/image" Target="../media/image113.png"/></Relationships>
</file>

<file path=ppt/slides/_rels/slide23.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118.png"/><Relationship Id="rId5" Type="http://schemas.openxmlformats.org/officeDocument/2006/relationships/image" Target="../media/image117.png"/><Relationship Id="rId10" Type="http://schemas.openxmlformats.org/officeDocument/2006/relationships/image" Target="../media/image120.png"/><Relationship Id="rId4" Type="http://schemas.openxmlformats.org/officeDocument/2006/relationships/image" Target="../media/image116.png"/><Relationship Id="rId9" Type="http://schemas.openxmlformats.org/officeDocument/2006/relationships/slide" Target="slide24.xml"/></Relationships>
</file>

<file path=ppt/slides/_rels/slide2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121.png"/><Relationship Id="rId4" Type="http://schemas.openxmlformats.org/officeDocument/2006/relationships/slide" Target="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slide" Target="slide24.xml"/><Relationship Id="rId3" Type="http://schemas.openxmlformats.org/officeDocument/2006/relationships/image" Target="../media/image76.svg"/><Relationship Id="rId7" Type="http://schemas.openxmlformats.org/officeDocument/2006/relationships/image" Target="../media/image80.svg"/><Relationship Id="rId12" Type="http://schemas.openxmlformats.org/officeDocument/2006/relationships/slide" Target="slide10.xml"/><Relationship Id="rId2" Type="http://schemas.openxmlformats.org/officeDocument/2006/relationships/image" Target="../media/image75.png"/><Relationship Id="rId1" Type="http://schemas.openxmlformats.org/officeDocument/2006/relationships/slideLayout" Target="../slideLayouts/slideLayout9.xml"/><Relationship Id="rId6" Type="http://schemas.openxmlformats.org/officeDocument/2006/relationships/image" Target="../media/image79.png"/><Relationship Id="rId11" Type="http://schemas.openxmlformats.org/officeDocument/2006/relationships/image" Target="../media/image84.svg"/><Relationship Id="rId5" Type="http://schemas.openxmlformats.org/officeDocument/2006/relationships/image" Target="../media/image78.sv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sv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106.xml"/><Relationship Id="rId5" Type="http://schemas.openxmlformats.org/officeDocument/2006/relationships/image" Target="../media/image122.emf"/><Relationship Id="rId4" Type="http://schemas.openxmlformats.org/officeDocument/2006/relationships/oleObject" Target="../embeddings/oleObject29.bin"/></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3.xml"/><Relationship Id="rId7" Type="http://schemas.openxmlformats.org/officeDocument/2006/relationships/image" Target="../media/image15.svg"/><Relationship Id="rId2" Type="http://schemas.openxmlformats.org/officeDocument/2006/relationships/slideLayout" Target="../slideLayouts/slideLayout9.xml"/><Relationship Id="rId1" Type="http://schemas.openxmlformats.org/officeDocument/2006/relationships/tags" Target="../tags/tag29.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9.emf"/><Relationship Id="rId10" Type="http://schemas.openxmlformats.org/officeDocument/2006/relationships/image" Target="../media/image18.png"/><Relationship Id="rId4" Type="http://schemas.openxmlformats.org/officeDocument/2006/relationships/oleObject" Target="../embeddings/oleObject15.bin"/><Relationship Id="rId9" Type="http://schemas.openxmlformats.org/officeDocument/2006/relationships/image" Target="../media/image17.svg"/></Relationships>
</file>

<file path=ppt/slides/_rels/slide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15.bin"/><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9.emf"/><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svg"/><Relationship Id="rId3" Type="http://schemas.openxmlformats.org/officeDocument/2006/relationships/notesSlide" Target="../notesSlides/notesSlide4.xml"/><Relationship Id="rId7" Type="http://schemas.openxmlformats.org/officeDocument/2006/relationships/image" Target="../media/image29.sv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slideLayout" Target="../slideLayouts/slideLayout9.xml"/><Relationship Id="rId16" Type="http://schemas.openxmlformats.org/officeDocument/2006/relationships/image" Target="../media/image38.svg"/><Relationship Id="rId20" Type="http://schemas.openxmlformats.org/officeDocument/2006/relationships/image" Target="../media/image42.svg"/><Relationship Id="rId1" Type="http://schemas.openxmlformats.org/officeDocument/2006/relationships/tags" Target="../tags/tag32.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9.emf"/><Relationship Id="rId15" Type="http://schemas.openxmlformats.org/officeDocument/2006/relationships/image" Target="../media/image37.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oleObject" Target="../embeddings/oleObject17.bin"/><Relationship Id="rId9" Type="http://schemas.openxmlformats.org/officeDocument/2006/relationships/image" Target="../media/image31.svg"/><Relationship Id="rId14" Type="http://schemas.openxmlformats.org/officeDocument/2006/relationships/image" Target="../media/image36.sv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43.jpeg"/><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5.xml"/><Relationship Id="rId7" Type="http://schemas.openxmlformats.org/officeDocument/2006/relationships/image" Target="../media/image45.sv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9.emf"/><Relationship Id="rId10" Type="http://schemas.openxmlformats.org/officeDocument/2006/relationships/image" Target="../media/image48.png"/><Relationship Id="rId4" Type="http://schemas.openxmlformats.org/officeDocument/2006/relationships/oleObject" Target="../embeddings/oleObject19.bin"/><Relationship Id="rId9" Type="http://schemas.openxmlformats.org/officeDocument/2006/relationships/image" Target="../media/image47.svg"/></Relationships>
</file>

<file path=ppt/slides/_rels/slide9.xml.rels><?xml version="1.0" encoding="UTF-8" standalone="yes"?>
<Relationships xmlns="http://schemas.openxmlformats.org/package/2006/relationships"><Relationship Id="rId13" Type="http://schemas.openxmlformats.org/officeDocument/2006/relationships/tags" Target="../tags/tag47.xml"/><Relationship Id="rId18" Type="http://schemas.openxmlformats.org/officeDocument/2006/relationships/tags" Target="../tags/tag52.xml"/><Relationship Id="rId26" Type="http://schemas.openxmlformats.org/officeDocument/2006/relationships/tags" Target="../tags/tag60.xml"/><Relationship Id="rId39" Type="http://schemas.openxmlformats.org/officeDocument/2006/relationships/image" Target="../media/image9.emf"/><Relationship Id="rId21" Type="http://schemas.openxmlformats.org/officeDocument/2006/relationships/tags" Target="../tags/tag55.xml"/><Relationship Id="rId34" Type="http://schemas.openxmlformats.org/officeDocument/2006/relationships/tags" Target="../tags/tag68.xml"/><Relationship Id="rId42" Type="http://schemas.openxmlformats.org/officeDocument/2006/relationships/image" Target="../media/image51.svg"/><Relationship Id="rId47" Type="http://schemas.openxmlformats.org/officeDocument/2006/relationships/chart" Target="../charts/chart2.xml"/><Relationship Id="rId7" Type="http://schemas.openxmlformats.org/officeDocument/2006/relationships/tags" Target="../tags/tag41.xml"/><Relationship Id="rId2" Type="http://schemas.openxmlformats.org/officeDocument/2006/relationships/tags" Target="../tags/tag36.xml"/><Relationship Id="rId16" Type="http://schemas.openxmlformats.org/officeDocument/2006/relationships/tags" Target="../tags/tag50.xml"/><Relationship Id="rId29" Type="http://schemas.openxmlformats.org/officeDocument/2006/relationships/tags" Target="../tags/tag63.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tags" Target="../tags/tag58.xml"/><Relationship Id="rId32" Type="http://schemas.openxmlformats.org/officeDocument/2006/relationships/tags" Target="../tags/tag66.xml"/><Relationship Id="rId37" Type="http://schemas.openxmlformats.org/officeDocument/2006/relationships/notesSlide" Target="../notesSlides/notesSlide6.xml"/><Relationship Id="rId40" Type="http://schemas.openxmlformats.org/officeDocument/2006/relationships/slide" Target="slide23.xml"/><Relationship Id="rId45" Type="http://schemas.openxmlformats.org/officeDocument/2006/relationships/image" Target="../media/image54.svg"/><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tags" Target="../tags/tag57.xml"/><Relationship Id="rId28" Type="http://schemas.openxmlformats.org/officeDocument/2006/relationships/tags" Target="../tags/tag62.xml"/><Relationship Id="rId36" Type="http://schemas.openxmlformats.org/officeDocument/2006/relationships/slideLayout" Target="../slideLayouts/slideLayout9.xml"/><Relationship Id="rId10" Type="http://schemas.openxmlformats.org/officeDocument/2006/relationships/tags" Target="../tags/tag44.xml"/><Relationship Id="rId19" Type="http://schemas.openxmlformats.org/officeDocument/2006/relationships/tags" Target="../tags/tag53.xml"/><Relationship Id="rId31" Type="http://schemas.openxmlformats.org/officeDocument/2006/relationships/tags" Target="../tags/tag65.xml"/><Relationship Id="rId44" Type="http://schemas.openxmlformats.org/officeDocument/2006/relationships/image" Target="../media/image53.png"/><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tags" Target="../tags/tag56.xml"/><Relationship Id="rId27" Type="http://schemas.openxmlformats.org/officeDocument/2006/relationships/tags" Target="../tags/tag61.xml"/><Relationship Id="rId30" Type="http://schemas.openxmlformats.org/officeDocument/2006/relationships/tags" Target="../tags/tag64.xml"/><Relationship Id="rId35" Type="http://schemas.openxmlformats.org/officeDocument/2006/relationships/tags" Target="../tags/tag69.xml"/><Relationship Id="rId43" Type="http://schemas.openxmlformats.org/officeDocument/2006/relationships/image" Target="../media/image52.png"/><Relationship Id="rId8" Type="http://schemas.openxmlformats.org/officeDocument/2006/relationships/tags" Target="../tags/tag42.xml"/><Relationship Id="rId3" Type="http://schemas.openxmlformats.org/officeDocument/2006/relationships/tags" Target="../tags/tag37.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tags" Target="../tags/tag59.xml"/><Relationship Id="rId33" Type="http://schemas.openxmlformats.org/officeDocument/2006/relationships/tags" Target="../tags/tag67.xml"/><Relationship Id="rId38" Type="http://schemas.openxmlformats.org/officeDocument/2006/relationships/oleObject" Target="../embeddings/oleObject20.bin"/><Relationship Id="rId46" Type="http://schemas.openxmlformats.org/officeDocument/2006/relationships/chart" Target="../charts/chart1.xml"/><Relationship Id="rId20" Type="http://schemas.openxmlformats.org/officeDocument/2006/relationships/tags" Target="../tags/tag54.xml"/><Relationship Id="rId41"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97B4C3-8BBB-442C-A04B-2E55EFD27799}"/>
              </a:ext>
            </a:extLst>
          </p:cNvPr>
          <p:cNvGraphicFramePr>
            <a:graphicFrameLocks noChangeAspect="1"/>
          </p:cNvGraphicFramePr>
          <p:nvPr>
            <p:custDataLst>
              <p:tags r:id="rId1"/>
            </p:custDataLst>
            <p:extLst>
              <p:ext uri="{D42A27DB-BD31-4B8C-83A1-F6EECF244321}">
                <p14:modId xmlns:p14="http://schemas.microsoft.com/office/powerpoint/2010/main" val="3594527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8297B4C3-8BBB-442C-A04B-2E55EFD277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E4C788-F0A6-4D79-9BD2-369CAECF0701}"/>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E678D674-EF39-464E-A2D6-600223C7D251}"/>
              </a:ext>
            </a:extLst>
          </p:cNvPr>
          <p:cNvSpPr>
            <a:spLocks noGrp="1"/>
          </p:cNvSpPr>
          <p:nvPr>
            <p:ph type="ctrTitle"/>
          </p:nvPr>
        </p:nvSpPr>
        <p:spPr/>
        <p:txBody>
          <a:bodyPr vert="horz"/>
          <a:lstStyle/>
          <a:p>
            <a:r>
              <a:rPr lang="en-US" dirty="0"/>
              <a:t>Strategic Decision-</a:t>
            </a:r>
            <a:r>
              <a:rPr lang="en-US"/>
              <a:t>Making </a:t>
            </a:r>
            <a:r>
              <a:rPr lang="en-US" dirty="0"/>
              <a:t>Review</a:t>
            </a:r>
          </a:p>
        </p:txBody>
      </p:sp>
      <p:sp>
        <p:nvSpPr>
          <p:cNvPr id="6" name="Subtitle 5">
            <a:extLst>
              <a:ext uri="{FF2B5EF4-FFF2-40B4-BE49-F238E27FC236}">
                <a16:creationId xmlns:a16="http://schemas.microsoft.com/office/drawing/2014/main" id="{9AC79A8B-23A0-40AE-B08B-63217B0FF8C7}"/>
              </a:ext>
            </a:extLst>
          </p:cNvPr>
          <p:cNvSpPr>
            <a:spLocks noGrp="1"/>
          </p:cNvSpPr>
          <p:nvPr>
            <p:ph type="subTitle" idx="1"/>
          </p:nvPr>
        </p:nvSpPr>
        <p:spPr>
          <a:xfrm>
            <a:off x="381001" y="1428750"/>
            <a:ext cx="5334000" cy="1143000"/>
          </a:xfrm>
        </p:spPr>
        <p:txBody>
          <a:bodyPr/>
          <a:lstStyle/>
          <a:p>
            <a:pPr lvl="0"/>
            <a:r>
              <a:rPr lang="en-US"/>
              <a:t>Final Update</a:t>
            </a:r>
          </a:p>
          <a:p>
            <a:pPr lvl="1"/>
            <a:r>
              <a:rPr lang="en-US"/>
              <a:t>April 2025</a:t>
            </a:r>
          </a:p>
        </p:txBody>
      </p:sp>
      <p:pic>
        <p:nvPicPr>
          <p:cNvPr id="10" name="Picture Placeholder 11" descr="Connecting lines and dots illustration">
            <a:extLst>
              <a:ext uri="{FF2B5EF4-FFF2-40B4-BE49-F238E27FC236}">
                <a16:creationId xmlns:a16="http://schemas.microsoft.com/office/drawing/2014/main" id="{3F74CCB7-C277-5BB0-1823-49EE2A6C712F}"/>
              </a:ext>
            </a:extLst>
          </p:cNvPr>
          <p:cNvPicPr>
            <a:picLocks noGrp="1" noChangeAspect="1"/>
          </p:cNvPicPr>
          <p:nvPr>
            <p:ph type="pic" sz="quarter" idx="10"/>
          </p:nvPr>
        </p:nvPicPr>
        <p:blipFill>
          <a:blip r:embed="rId7" cstate="email">
            <a:extLst>
              <a:ext uri="{28A0092B-C50C-407E-A947-70E740481C1C}">
                <a14:useLocalDpi xmlns:a14="http://schemas.microsoft.com/office/drawing/2010/main"/>
              </a:ext>
            </a:extLst>
          </a:blip>
          <a:srcRect t="26" b="26"/>
          <a:stretch>
            <a:fillRect/>
          </a:stretch>
        </p:blipFill>
        <p:spPr>
          <a:xfrm>
            <a:off x="6102350" y="0"/>
            <a:ext cx="6089650" cy="6858000"/>
          </a:xfrm>
        </p:spPr>
      </p:pic>
    </p:spTree>
    <p:extLst>
      <p:ext uri="{BB962C8B-B14F-4D97-AF65-F5344CB8AC3E}">
        <p14:creationId xmlns:p14="http://schemas.microsoft.com/office/powerpoint/2010/main" val="2741420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05128-EC45-2592-9B1A-D2E57D04DBF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E55C691-749F-9B1B-3DA6-D436A364777C}"/>
              </a:ext>
            </a:extLst>
          </p:cNvPr>
          <p:cNvGraphicFramePr>
            <a:graphicFrameLocks noChangeAspect="1"/>
          </p:cNvGraphicFramePr>
          <p:nvPr>
            <p:custDataLst>
              <p:tags r:id="rId1"/>
            </p:custDataLst>
            <p:extLst>
              <p:ext uri="{D42A27DB-BD31-4B8C-83A1-F6EECF244321}">
                <p14:modId xmlns:p14="http://schemas.microsoft.com/office/powerpoint/2010/main" val="891439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84" imgH="486" progId="TCLayout.ActiveDocument.1">
                  <p:embed/>
                </p:oleObj>
              </mc:Choice>
              <mc:Fallback>
                <p:oleObj name="think-cell Slide" r:id="rId31" imgW="484" imgH="486" progId="TCLayout.ActiveDocument.1">
                  <p:embed/>
                  <p:pic>
                    <p:nvPicPr>
                      <p:cNvPr id="19" name="think-cell data - do not delete" hidden="1">
                        <a:extLst>
                          <a:ext uri="{FF2B5EF4-FFF2-40B4-BE49-F238E27FC236}">
                            <a16:creationId xmlns:a16="http://schemas.microsoft.com/office/drawing/2014/main" id="{FE55C691-749F-9B1B-3DA6-D436A364777C}"/>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DD7B1EC8-46D7-C2F2-E0DC-BC9C23A18EAF}"/>
              </a:ext>
            </a:extLst>
          </p:cNvPr>
          <p:cNvSpPr/>
          <p:nvPr/>
        </p:nvSpPr>
        <p:spPr>
          <a:xfrm>
            <a:off x="4064000" y="1524000"/>
            <a:ext cx="4064000" cy="5334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137160" rIns="384048" bIns="72009" rtlCol="0" anchor="t"/>
          <a:lstStyle/>
          <a:p>
            <a:pPr algn="l">
              <a:lnSpc>
                <a:spcPct val="90000"/>
              </a:lnSpc>
            </a:pPr>
            <a:r>
              <a:rPr lang="en-US" sz="1400" b="1">
                <a:solidFill>
                  <a:schemeClr val="tx2"/>
                </a:solidFill>
              </a:rPr>
              <a:t>2. Retailer Purchasing </a:t>
            </a:r>
            <a:br>
              <a:rPr lang="en-US" sz="1400" b="1">
                <a:solidFill>
                  <a:schemeClr val="tx2"/>
                </a:solidFill>
              </a:rPr>
            </a:br>
            <a:r>
              <a:rPr lang="en-US" sz="1400" b="1">
                <a:solidFill>
                  <a:schemeClr val="tx2"/>
                </a:solidFill>
              </a:rPr>
              <a:t>Behavior</a:t>
            </a:r>
          </a:p>
        </p:txBody>
      </p:sp>
      <p:sp>
        <p:nvSpPr>
          <p:cNvPr id="42" name="Rectangle 41">
            <a:extLst>
              <a:ext uri="{FF2B5EF4-FFF2-40B4-BE49-F238E27FC236}">
                <a16:creationId xmlns:a16="http://schemas.microsoft.com/office/drawing/2014/main" id="{035FAD2F-AEA9-AA3E-2D75-86D92F125DF2}"/>
              </a:ext>
            </a:extLst>
          </p:cNvPr>
          <p:cNvSpPr/>
          <p:nvPr/>
        </p:nvSpPr>
        <p:spPr>
          <a:xfrm>
            <a:off x="4209862" y="3429000"/>
            <a:ext cx="3772277" cy="2667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7" name="Title 6">
            <a:extLst>
              <a:ext uri="{FF2B5EF4-FFF2-40B4-BE49-F238E27FC236}">
                <a16:creationId xmlns:a16="http://schemas.microsoft.com/office/drawing/2014/main" id="{D039ACC2-8561-51D1-9B17-279E8A76EEF1}"/>
              </a:ext>
            </a:extLst>
          </p:cNvPr>
          <p:cNvSpPr>
            <a:spLocks noGrp="1"/>
          </p:cNvSpPr>
          <p:nvPr>
            <p:ph type="title"/>
          </p:nvPr>
        </p:nvSpPr>
        <p:spPr>
          <a:xfrm>
            <a:off x="381001" y="381000"/>
            <a:ext cx="9432072" cy="830997"/>
          </a:xfrm>
        </p:spPr>
        <p:txBody>
          <a:bodyPr vert="horz"/>
          <a:lstStyle/>
          <a:p>
            <a:r>
              <a:rPr lang="en-US" dirty="0">
                <a:ea typeface="+mj-lt"/>
                <a:cs typeface="+mj-lt"/>
              </a:rPr>
              <a:t>Exiting durable goods risks more than profit—it threatens retailer loyalty and fast-moving goods performance</a:t>
            </a:r>
            <a:endParaRPr lang="en-US" dirty="0"/>
          </a:p>
        </p:txBody>
      </p:sp>
      <p:sp>
        <p:nvSpPr>
          <p:cNvPr id="3" name="TextBox 2">
            <a:extLst>
              <a:ext uri="{FF2B5EF4-FFF2-40B4-BE49-F238E27FC236}">
                <a16:creationId xmlns:a16="http://schemas.microsoft.com/office/drawing/2014/main" id="{D5954788-9BC5-DA6A-EDCD-E984D50D7064}"/>
              </a:ext>
            </a:extLst>
          </p:cNvPr>
          <p:cNvSpPr txBox="1"/>
          <p:nvPr/>
        </p:nvSpPr>
        <p:spPr>
          <a:xfrm>
            <a:off x="9906000" y="1143000"/>
            <a:ext cx="1905000" cy="152400"/>
          </a:xfrm>
          <a:prstGeom prst="rect">
            <a:avLst/>
          </a:prstGeom>
          <a:noFill/>
          <a:ln w="6350">
            <a:noFill/>
          </a:ln>
          <a:extLst>
            <a:ext uri="{91240B29-F687-4F45-9708-019B960494DF}">
              <a14:hiddenLine xmlns:a14="http://schemas.microsoft.com/office/drawing/2010/main" w="6350">
                <a:solidFill>
                  <a:schemeClr val="tx1"/>
                </a:solidFill>
              </a14:hiddenLine>
            </a:ext>
          </a:extLst>
        </p:spPr>
        <p:txBody>
          <a:bodyPr wrap="square" lIns="0" tIns="0" rIns="0" bIns="0" rtlCol="0" anchor="t" anchorCtr="0">
            <a:noAutofit/>
          </a:bodyPr>
          <a:lstStyle/>
          <a:p>
            <a:pPr algn="r">
              <a:lnSpc>
                <a:spcPct val="90000"/>
              </a:lnSpc>
            </a:pPr>
            <a:r>
              <a:rPr lang="en-US" sz="1100" b="1">
                <a:solidFill>
                  <a:schemeClr val="accent3"/>
                </a:solidFill>
                <a:latin typeface="Arial" panose="020B0604020202020204" pitchFamily="34" charset="0"/>
              </a:rPr>
              <a:t>Further details of numeric data </a:t>
            </a:r>
            <a:r>
              <a:rPr lang="en-US" sz="1100" b="1">
                <a:solidFill>
                  <a:srgbClr val="787878"/>
                </a:solidFill>
                <a:latin typeface="Arial" panose="020B0604020202020204" pitchFamily="34" charset="0"/>
              </a:rPr>
              <a:t>in </a:t>
            </a:r>
            <a:r>
              <a:rPr lang="en-US" sz="1100" b="1">
                <a:solidFill>
                  <a:srgbClr val="787878"/>
                </a:solidFill>
                <a:latin typeface="Arial" panose="020B0604020202020204" pitchFamily="34" charset="0"/>
                <a:hlinkClick r:id="rId33" action="ppaction://hlinksldjump">
                  <a:extLst>
                    <a:ext uri="{A12FA001-AC4F-418D-AE19-62706E023703}">
                      <ahyp:hlinkClr xmlns:ahyp="http://schemas.microsoft.com/office/drawing/2018/hyperlinkcolor" val="tx"/>
                    </a:ext>
                  </a:extLst>
                </a:hlinkClick>
              </a:rPr>
              <a:t>Appendix 4.1</a:t>
            </a:r>
            <a:endParaRPr lang="en-US" sz="1100" b="1">
              <a:solidFill>
                <a:srgbClr val="787878"/>
              </a:solidFill>
              <a:latin typeface="Arial" panose="020B0604020202020204" pitchFamily="34" charset="0"/>
            </a:endParaRPr>
          </a:p>
        </p:txBody>
      </p:sp>
      <p:sp>
        <p:nvSpPr>
          <p:cNvPr id="4" name="Rectangle 2">
            <a:extLst>
              <a:ext uri="{FF2B5EF4-FFF2-40B4-BE49-F238E27FC236}">
                <a16:creationId xmlns:a16="http://schemas.microsoft.com/office/drawing/2014/main" id="{94E85757-3109-43EF-18CF-8691E12AF3E6}"/>
              </a:ext>
            </a:extLst>
          </p:cNvPr>
          <p:cNvSpPr txBox="1">
            <a:spLocks noChangeArrowheads="1"/>
          </p:cNvSpPr>
          <p:nvPr/>
        </p:nvSpPr>
        <p:spPr bwMode="gray">
          <a:xfrm>
            <a:off x="11290025" y="762000"/>
            <a:ext cx="520975" cy="166199"/>
          </a:xfrm>
          <a:prstGeom prst="rect">
            <a:avLst/>
          </a:prstGeom>
        </p:spPr>
        <p:txBody>
          <a:bodyPr vert="horz" wrap="none" lIns="0" tIns="0" rIns="0" bIns="0" rtlCol="0" anchor="t" anchorCtr="0">
            <a:sp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pPr algn="r" fontAlgn="b">
              <a:defRPr/>
            </a:pPr>
            <a:r>
              <a:rPr lang="en-US" sz="1200">
                <a:solidFill>
                  <a:schemeClr val="tx1"/>
                </a:solidFill>
                <a:latin typeface="Arial" panose="020B0604020202020204" pitchFamily="34" charset="0"/>
              </a:rPr>
              <a:t>Issue 3</a:t>
            </a:r>
          </a:p>
        </p:txBody>
      </p:sp>
      <p:sp>
        <p:nvSpPr>
          <p:cNvPr id="20" name="Rectangle 19">
            <a:extLst>
              <a:ext uri="{FF2B5EF4-FFF2-40B4-BE49-F238E27FC236}">
                <a16:creationId xmlns:a16="http://schemas.microsoft.com/office/drawing/2014/main" id="{5155305C-438B-F03F-2D88-DB7DB213F4BA}"/>
              </a:ext>
            </a:extLst>
          </p:cNvPr>
          <p:cNvSpPr/>
          <p:nvPr/>
        </p:nvSpPr>
        <p:spPr>
          <a:xfrm>
            <a:off x="0" y="1524000"/>
            <a:ext cx="4064000" cy="5334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137160" rIns="274320" bIns="72009" rtlCol="0" anchor="t"/>
          <a:lstStyle/>
          <a:p>
            <a:pPr algn="l">
              <a:lnSpc>
                <a:spcPct val="90000"/>
              </a:lnSpc>
            </a:pPr>
            <a:r>
              <a:rPr lang="en-US" sz="1400" b="1">
                <a:solidFill>
                  <a:schemeClr val="tx2"/>
                </a:solidFill>
              </a:rPr>
              <a:t>1. Strong correlation between sales of durable goods &amp; fast-moving goods</a:t>
            </a:r>
          </a:p>
        </p:txBody>
      </p:sp>
      <p:sp>
        <p:nvSpPr>
          <p:cNvPr id="23" name="Rectangle 22">
            <a:extLst>
              <a:ext uri="{FF2B5EF4-FFF2-40B4-BE49-F238E27FC236}">
                <a16:creationId xmlns:a16="http://schemas.microsoft.com/office/drawing/2014/main" id="{1464AD5A-EC31-FEA6-E2ED-8A824CF4F701}"/>
              </a:ext>
            </a:extLst>
          </p:cNvPr>
          <p:cNvSpPr/>
          <p:nvPr/>
        </p:nvSpPr>
        <p:spPr>
          <a:xfrm>
            <a:off x="8128000" y="1524000"/>
            <a:ext cx="4064000" cy="533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137160" rIns="384048" bIns="72009" rtlCol="0" anchor="t"/>
          <a:lstStyle/>
          <a:p>
            <a:pPr algn="l">
              <a:lnSpc>
                <a:spcPct val="90000"/>
              </a:lnSpc>
            </a:pPr>
            <a:r>
              <a:rPr lang="en-US" sz="1400" b="1">
                <a:solidFill>
                  <a:schemeClr val="tx2"/>
                </a:solidFill>
              </a:rPr>
              <a:t>3. Durable goods &amp; Fast-moving Goods by Brands</a:t>
            </a:r>
            <a:endParaRPr lang="en-US" sz="1400" b="1" err="1">
              <a:solidFill>
                <a:schemeClr val="tx2"/>
              </a:solidFill>
            </a:endParaRPr>
          </a:p>
        </p:txBody>
      </p:sp>
      <p:sp>
        <p:nvSpPr>
          <p:cNvPr id="25" name="Rectangle 24">
            <a:extLst>
              <a:ext uri="{FF2B5EF4-FFF2-40B4-BE49-F238E27FC236}">
                <a16:creationId xmlns:a16="http://schemas.microsoft.com/office/drawing/2014/main" id="{0335BB8F-F61A-2F17-1E76-1E6E01487870}"/>
              </a:ext>
            </a:extLst>
          </p:cNvPr>
          <p:cNvSpPr/>
          <p:nvPr/>
        </p:nvSpPr>
        <p:spPr>
          <a:xfrm>
            <a:off x="381000" y="2301689"/>
            <a:ext cx="3429000" cy="751603"/>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nSpc>
                <a:spcPct val="90000"/>
              </a:lnSpc>
              <a:spcBef>
                <a:spcPts val="300"/>
              </a:spcBef>
              <a:spcAft>
                <a:spcPct val="0"/>
              </a:spcAft>
            </a:pPr>
            <a:r>
              <a:rPr lang="en-US" sz="1400" b="1">
                <a:solidFill>
                  <a:schemeClr val="tx1"/>
                </a:solidFill>
                <a:ea typeface="+mn-lt"/>
                <a:cs typeface="+mn-lt"/>
              </a:rPr>
              <a:t>Category Correlation</a:t>
            </a:r>
          </a:p>
          <a:p>
            <a:pPr>
              <a:lnSpc>
                <a:spcPct val="90000"/>
              </a:lnSpc>
              <a:spcBef>
                <a:spcPts val="300"/>
              </a:spcBef>
              <a:spcAft>
                <a:spcPct val="0"/>
              </a:spcAft>
            </a:pPr>
            <a:r>
              <a:rPr lang="en-US" sz="1200">
                <a:solidFill>
                  <a:schemeClr val="tx1"/>
                </a:solidFill>
                <a:ea typeface="+mn-lt"/>
                <a:cs typeface="+mn-lt"/>
              </a:rPr>
              <a:t>Correlation between sales of durable goods and sales of fast-moving goods:</a:t>
            </a:r>
            <a:r>
              <a:rPr lang="en-US" sz="1200" b="1">
                <a:solidFill>
                  <a:schemeClr val="tx1"/>
                </a:solidFill>
                <a:ea typeface="+mn-lt"/>
                <a:cs typeface="+mn-lt"/>
              </a:rPr>
              <a:t> </a:t>
            </a:r>
            <a:r>
              <a:rPr lang="en-US" sz="1200" b="1">
                <a:solidFill>
                  <a:schemeClr val="tx2"/>
                </a:solidFill>
                <a:ea typeface="+mn-lt"/>
                <a:cs typeface="+mn-lt"/>
              </a:rPr>
              <a:t>Very High Correlation </a:t>
            </a:r>
            <a:endParaRPr lang="en-US" sz="1200" b="1">
              <a:solidFill>
                <a:schemeClr val="tx2"/>
              </a:solidFill>
              <a:cs typeface="Arial"/>
            </a:endParaRPr>
          </a:p>
        </p:txBody>
      </p:sp>
      <p:graphicFrame>
        <p:nvGraphicFramePr>
          <p:cNvPr id="27" name="表格 8">
            <a:extLst>
              <a:ext uri="{FF2B5EF4-FFF2-40B4-BE49-F238E27FC236}">
                <a16:creationId xmlns:a16="http://schemas.microsoft.com/office/drawing/2014/main" id="{AF341A7F-113D-94AC-D3F9-C6F7B22BE586}"/>
              </a:ext>
            </a:extLst>
          </p:cNvPr>
          <p:cNvGraphicFramePr>
            <a:graphicFrameLocks noGrp="1"/>
          </p:cNvGraphicFramePr>
          <p:nvPr>
            <p:extLst>
              <p:ext uri="{D42A27DB-BD31-4B8C-83A1-F6EECF244321}">
                <p14:modId xmlns:p14="http://schemas.microsoft.com/office/powerpoint/2010/main" val="2604112730"/>
              </p:ext>
            </p:extLst>
          </p:nvPr>
        </p:nvGraphicFramePr>
        <p:xfrm>
          <a:off x="381000" y="4687342"/>
          <a:ext cx="3428999" cy="1409276"/>
        </p:xfrm>
        <a:graphic>
          <a:graphicData uri="http://schemas.openxmlformats.org/drawingml/2006/table">
            <a:tbl>
              <a:tblPr firstRow="1" bandRow="1">
                <a:tableStyleId>{5C22544A-7EE6-4342-B048-85BDC9FD1C3A}</a:tableStyleId>
              </a:tblPr>
              <a:tblGrid>
                <a:gridCol w="839401">
                  <a:extLst>
                    <a:ext uri="{9D8B030D-6E8A-4147-A177-3AD203B41FA5}">
                      <a16:colId xmlns:a16="http://schemas.microsoft.com/office/drawing/2014/main" val="2233217594"/>
                    </a:ext>
                  </a:extLst>
                </a:gridCol>
                <a:gridCol w="615560">
                  <a:extLst>
                    <a:ext uri="{9D8B030D-6E8A-4147-A177-3AD203B41FA5}">
                      <a16:colId xmlns:a16="http://schemas.microsoft.com/office/drawing/2014/main" val="2852481091"/>
                    </a:ext>
                  </a:extLst>
                </a:gridCol>
                <a:gridCol w="653381">
                  <a:extLst>
                    <a:ext uri="{9D8B030D-6E8A-4147-A177-3AD203B41FA5}">
                      <a16:colId xmlns:a16="http://schemas.microsoft.com/office/drawing/2014/main" val="3002012411"/>
                    </a:ext>
                  </a:extLst>
                </a:gridCol>
                <a:gridCol w="637944">
                  <a:extLst>
                    <a:ext uri="{9D8B030D-6E8A-4147-A177-3AD203B41FA5}">
                      <a16:colId xmlns:a16="http://schemas.microsoft.com/office/drawing/2014/main" val="2789943828"/>
                    </a:ext>
                  </a:extLst>
                </a:gridCol>
                <a:gridCol w="682713">
                  <a:extLst>
                    <a:ext uri="{9D8B030D-6E8A-4147-A177-3AD203B41FA5}">
                      <a16:colId xmlns:a16="http://schemas.microsoft.com/office/drawing/2014/main" val="1646472611"/>
                    </a:ext>
                  </a:extLst>
                </a:gridCol>
              </a:tblGrid>
              <a:tr h="432604">
                <a:tc>
                  <a:txBody>
                    <a:bodyPr/>
                    <a:lstStyle/>
                    <a:p>
                      <a:pPr algn="l">
                        <a:lnSpc>
                          <a:spcPct val="90000"/>
                        </a:lnSpc>
                      </a:pPr>
                      <a:endParaRPr lang="zh-TW" altLang="en-US" sz="1100" b="1" spc="0">
                        <a:solidFill>
                          <a:schemeClr val="tx1"/>
                        </a:solidFill>
                        <a:latin typeface="+mn-lt"/>
                      </a:endParaRPr>
                    </a:p>
                  </a:txBody>
                  <a:tcPr marL="35941" marR="35941" anchor="ctr">
                    <a:lnL w="28575" cap="flat" cmpd="sng" algn="ctr">
                      <a:noFill/>
                      <a:prstDash val="solid"/>
                      <a:round/>
                      <a:headEnd type="none" w="med" len="med"/>
                      <a:tailEnd type="none" w="med" len="med"/>
                    </a:lnL>
                    <a:lnR w="0" cap="flat" cmpd="sng" algn="ctr">
                      <a:solidFill>
                        <a:schemeClr val="bg1">
                          <a:lumMod val="65000"/>
                          <a:alpha val="0"/>
                        </a:schemeClr>
                      </a:solidFill>
                      <a:prstDash val="solid"/>
                      <a:round/>
                      <a:headEnd type="none" w="med" len="med"/>
                      <a:tailEnd type="none" w="med" len="med"/>
                    </a:lnR>
                    <a:lnT w="28575" cap="flat" cmpd="sng" algn="ctr">
                      <a:noFill/>
                      <a:prstDash val="solid"/>
                      <a:round/>
                      <a:headEnd type="none" w="med" len="med"/>
                      <a:tailEnd type="none" w="med" len="med"/>
                    </a:lnT>
                    <a:lnB w="28575">
                      <a:solidFill>
                        <a:schemeClr val="bg1"/>
                      </a:solidFill>
                    </a:lnB>
                    <a:solidFill>
                      <a:srgbClr val="D2D2D2"/>
                    </a:solidFill>
                  </a:tcPr>
                </a:tc>
                <a:tc>
                  <a:txBody>
                    <a:bodyPr/>
                    <a:lstStyle/>
                    <a:p>
                      <a:pPr algn="ctr">
                        <a:lnSpc>
                          <a:spcPct val="90000"/>
                        </a:lnSpc>
                      </a:pPr>
                      <a:r>
                        <a:rPr lang="zh-TW" altLang="en-US" sz="1100" b="1" spc="0">
                          <a:solidFill>
                            <a:schemeClr val="tx1"/>
                          </a:solidFill>
                          <a:latin typeface="+mn-lt"/>
                        </a:rPr>
                        <a:t>RetailerA</a:t>
                      </a:r>
                    </a:p>
                  </a:txBody>
                  <a:tcPr marL="35941" marR="35941" anchor="ctr">
                    <a:lnL w="0" cap="flat" cmpd="sng" algn="ctr">
                      <a:solidFill>
                        <a:schemeClr val="bg1">
                          <a:lumMod val="65000"/>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noFill/>
                      <a:prstDash val="solid"/>
                      <a:round/>
                      <a:headEnd type="none" w="med" len="med"/>
                      <a:tailEnd type="none" w="med" len="med"/>
                    </a:lnT>
                    <a:lnB w="28575">
                      <a:solidFill>
                        <a:schemeClr val="bg1"/>
                      </a:solidFill>
                    </a:lnB>
                    <a:solidFill>
                      <a:srgbClr val="E1E1E1"/>
                    </a:solidFill>
                  </a:tcPr>
                </a:tc>
                <a:tc>
                  <a:txBody>
                    <a:bodyPr/>
                    <a:lstStyle/>
                    <a:p>
                      <a:pPr algn="ctr">
                        <a:lnSpc>
                          <a:spcPct val="90000"/>
                        </a:lnSpc>
                      </a:pPr>
                      <a:r>
                        <a:rPr lang="zh-TW" altLang="en-US" sz="1100" b="1" spc="0">
                          <a:solidFill>
                            <a:schemeClr val="tx1"/>
                          </a:solidFill>
                          <a:latin typeface="+mn-lt"/>
                        </a:rPr>
                        <a:t>RetailerB</a:t>
                      </a:r>
                    </a:p>
                  </a:txBody>
                  <a:tcPr marL="35941" marR="35941"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noFill/>
                      <a:prstDash val="solid"/>
                      <a:round/>
                      <a:headEnd type="none" w="med" len="med"/>
                      <a:tailEnd type="none" w="med" len="med"/>
                    </a:lnT>
                    <a:lnB w="28575">
                      <a:solidFill>
                        <a:schemeClr val="bg1"/>
                      </a:solidFill>
                    </a:lnB>
                    <a:solidFill>
                      <a:srgbClr val="D2D2D2"/>
                    </a:solidFill>
                  </a:tcPr>
                </a:tc>
                <a:tc>
                  <a:txBody>
                    <a:bodyPr/>
                    <a:lstStyle/>
                    <a:p>
                      <a:pPr algn="ctr">
                        <a:lnSpc>
                          <a:spcPct val="90000"/>
                        </a:lnSpc>
                      </a:pPr>
                      <a:r>
                        <a:rPr lang="zh-TW" altLang="en-US" sz="1100" b="1" spc="0">
                          <a:solidFill>
                            <a:schemeClr val="tx1"/>
                          </a:solidFill>
                          <a:latin typeface="+mn-lt"/>
                        </a:rPr>
                        <a:t>RetailerD</a:t>
                      </a:r>
                    </a:p>
                  </a:txBody>
                  <a:tcPr marL="35941" marR="35941"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tc>
                  <a:txBody>
                    <a:bodyPr/>
                    <a:lstStyle/>
                    <a:p>
                      <a:pPr algn="ctr">
                        <a:lnSpc>
                          <a:spcPct val="90000"/>
                        </a:lnSpc>
                      </a:pPr>
                      <a:r>
                        <a:rPr lang="zh-TW" altLang="en-US" sz="1100" b="1" spc="0">
                          <a:solidFill>
                            <a:schemeClr val="tx1"/>
                          </a:solidFill>
                          <a:latin typeface="+mn-lt"/>
                        </a:rPr>
                        <a:t>Retailer E</a:t>
                      </a:r>
                    </a:p>
                  </a:txBody>
                  <a:tcPr marL="35941" marR="35941" anchor="ctr">
                    <a:lnL w="0" cap="flat" cmpd="sng" algn="ctr">
                      <a:solidFill>
                        <a:schemeClr val="tx1">
                          <a:alpha val="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a:solidFill>
                        <a:schemeClr val="bg1"/>
                      </a:solidFill>
                    </a:lnB>
                    <a:solidFill>
                      <a:srgbClr val="D2D2D2"/>
                    </a:solidFill>
                  </a:tcPr>
                </a:tc>
                <a:extLst>
                  <a:ext uri="{0D108BD9-81ED-4DB2-BD59-A6C34878D82A}">
                    <a16:rowId xmlns:a16="http://schemas.microsoft.com/office/drawing/2014/main" val="2490735830"/>
                  </a:ext>
                </a:extLst>
              </a:tr>
              <a:tr h="481120">
                <a:tc>
                  <a:txBody>
                    <a:bodyPr/>
                    <a:lstStyle/>
                    <a:p>
                      <a:pPr lvl="0" algn="l">
                        <a:lnSpc>
                          <a:spcPct val="90000"/>
                        </a:lnSpc>
                        <a:buNone/>
                      </a:pPr>
                      <a:r>
                        <a:rPr lang="en-US" altLang="zh-TW" sz="1100" b="1" i="0" u="none" strike="noStrike" spc="0" noProof="0">
                          <a:solidFill>
                            <a:schemeClr val="tx1"/>
                          </a:solidFill>
                          <a:latin typeface="+mn-lt"/>
                        </a:rPr>
                        <a:t>F</a:t>
                      </a:r>
                      <a:r>
                        <a:rPr lang="zh-TW" sz="1100" b="1" i="0" u="none" strike="noStrike" spc="0" noProof="0">
                          <a:solidFill>
                            <a:schemeClr val="tx1"/>
                          </a:solidFill>
                          <a:latin typeface="+mn-lt"/>
                        </a:rPr>
                        <a:t>ast-moving </a:t>
                      </a:r>
                      <a:r>
                        <a:rPr lang="en-US" altLang="zh-TW" sz="1100" b="1" i="0" u="none" strike="noStrike" spc="0" noProof="0">
                          <a:solidFill>
                            <a:schemeClr val="tx1"/>
                          </a:solidFill>
                          <a:latin typeface="+mn-lt"/>
                        </a:rPr>
                        <a:t>G</a:t>
                      </a:r>
                      <a:r>
                        <a:rPr lang="zh-TW" sz="1100" b="1" i="0" u="none" strike="noStrike" spc="0" noProof="0">
                          <a:solidFill>
                            <a:schemeClr val="tx1"/>
                          </a:solidFill>
                          <a:latin typeface="+mn-lt"/>
                        </a:rPr>
                        <a:t>oods</a:t>
                      </a:r>
                      <a:endParaRPr lang="zh-TW" altLang="en-US" sz="1100" b="1" spc="0">
                        <a:solidFill>
                          <a:schemeClr val="tx1"/>
                        </a:solidFill>
                        <a:latin typeface="+mn-lt"/>
                      </a:endParaRPr>
                    </a:p>
                  </a:txBody>
                  <a:tcPr marL="35941" marR="35941" anchor="ctr">
                    <a:lnL w="28575" cap="flat" cmpd="sng" algn="ctr">
                      <a:noFill/>
                      <a:prstDash val="solid"/>
                      <a:round/>
                      <a:headEnd type="none" w="med" len="med"/>
                      <a:tailEnd type="none" w="med" len="med"/>
                    </a:lnL>
                    <a:lnR w="0" cap="flat" cmpd="sng" algn="ctr">
                      <a:solidFill>
                        <a:schemeClr val="bg1">
                          <a:lumMod val="65000"/>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a:solidFill>
                        <a:schemeClr val="bg1"/>
                      </a:solidFill>
                    </a:lnB>
                    <a:solidFill>
                      <a:srgbClr val="D2D2D2"/>
                    </a:solidFill>
                  </a:tcPr>
                </a:tc>
                <a:tc>
                  <a:txBody>
                    <a:bodyPr/>
                    <a:lstStyle/>
                    <a:p>
                      <a:pPr algn="ctr">
                        <a:lnSpc>
                          <a:spcPct val="90000"/>
                        </a:lnSpc>
                      </a:pPr>
                      <a:r>
                        <a:rPr lang="zh-TW" altLang="en-US" sz="1100" b="0" spc="0">
                          <a:solidFill>
                            <a:schemeClr val="tx1"/>
                          </a:solidFill>
                          <a:latin typeface="+mn-lt"/>
                        </a:rPr>
                        <a:t>5%</a:t>
                      </a:r>
                    </a:p>
                  </a:txBody>
                  <a:tcPr marL="35941" marR="35941" anchor="ctr">
                    <a:lnL w="0" cap="flat" cmpd="sng" algn="ctr">
                      <a:solidFill>
                        <a:schemeClr val="bg1">
                          <a:lumMod val="65000"/>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a:solidFill>
                        <a:schemeClr val="bg1"/>
                      </a:solidFill>
                    </a:lnB>
                    <a:solidFill>
                      <a:srgbClr val="E1E1E1"/>
                    </a:solidFill>
                  </a:tcPr>
                </a:tc>
                <a:tc>
                  <a:txBody>
                    <a:bodyPr/>
                    <a:lstStyle/>
                    <a:p>
                      <a:pPr algn="ctr">
                        <a:lnSpc>
                          <a:spcPct val="90000"/>
                        </a:lnSpc>
                      </a:pPr>
                      <a:r>
                        <a:rPr lang="zh-TW" altLang="en-US" sz="1100" b="0" spc="0">
                          <a:solidFill>
                            <a:schemeClr val="tx1"/>
                          </a:solidFill>
                          <a:latin typeface="+mn-lt"/>
                        </a:rPr>
                        <a:t>-14.2%</a:t>
                      </a:r>
                    </a:p>
                  </a:txBody>
                  <a:tcPr marL="35941" marR="35941"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a:solidFill>
                        <a:schemeClr val="bg1"/>
                      </a:solidFill>
                    </a:lnB>
                    <a:solidFill>
                      <a:srgbClr val="D2D2D2"/>
                    </a:solidFill>
                  </a:tcPr>
                </a:tc>
                <a:tc>
                  <a:txBody>
                    <a:bodyPr/>
                    <a:lstStyle/>
                    <a:p>
                      <a:pPr algn="ctr">
                        <a:lnSpc>
                          <a:spcPct val="90000"/>
                        </a:lnSpc>
                      </a:pPr>
                      <a:r>
                        <a:rPr lang="zh-TW" altLang="en-US" sz="1100" b="0" spc="0">
                          <a:solidFill>
                            <a:schemeClr val="tx1"/>
                          </a:solidFill>
                          <a:latin typeface="+mn-lt"/>
                        </a:rPr>
                        <a:t>-28.2%</a:t>
                      </a:r>
                    </a:p>
                  </a:txBody>
                  <a:tcPr marL="35941" marR="35941"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a:solidFill>
                        <a:schemeClr val="bg1"/>
                      </a:solidFill>
                    </a:lnB>
                    <a:solidFill>
                      <a:srgbClr val="E1E1E1"/>
                    </a:solidFill>
                  </a:tcPr>
                </a:tc>
                <a:tc>
                  <a:txBody>
                    <a:bodyPr/>
                    <a:lstStyle/>
                    <a:p>
                      <a:pPr algn="ctr">
                        <a:lnSpc>
                          <a:spcPct val="90000"/>
                        </a:lnSpc>
                      </a:pPr>
                      <a:r>
                        <a:rPr lang="zh-TW" altLang="en-US" sz="1100" b="0" spc="0">
                          <a:solidFill>
                            <a:schemeClr val="tx1"/>
                          </a:solidFill>
                          <a:latin typeface="+mn-lt"/>
                        </a:rPr>
                        <a:t>-11.5%</a:t>
                      </a:r>
                    </a:p>
                  </a:txBody>
                  <a:tcPr marL="35941" marR="35941" anchor="ctr">
                    <a:lnL w="0" cap="flat" cmpd="sng" algn="ctr">
                      <a:solidFill>
                        <a:schemeClr val="tx1">
                          <a:alpha val="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a:solidFill>
                        <a:schemeClr val="bg1"/>
                      </a:solidFill>
                    </a:lnB>
                    <a:solidFill>
                      <a:srgbClr val="D2D2D2"/>
                    </a:solidFill>
                  </a:tcPr>
                </a:tc>
                <a:extLst>
                  <a:ext uri="{0D108BD9-81ED-4DB2-BD59-A6C34878D82A}">
                    <a16:rowId xmlns:a16="http://schemas.microsoft.com/office/drawing/2014/main" val="3862112225"/>
                  </a:ext>
                </a:extLst>
              </a:tr>
              <a:tr h="432604">
                <a:tc>
                  <a:txBody>
                    <a:bodyPr/>
                    <a:lstStyle/>
                    <a:p>
                      <a:pPr lvl="0" algn="l">
                        <a:lnSpc>
                          <a:spcPct val="90000"/>
                        </a:lnSpc>
                        <a:buNone/>
                      </a:pPr>
                      <a:r>
                        <a:rPr lang="en-US" altLang="zh-TW" sz="1100" b="1" i="0" u="none" strike="noStrike" spc="0" noProof="0">
                          <a:solidFill>
                            <a:schemeClr val="tx1"/>
                          </a:solidFill>
                          <a:latin typeface="+mn-lt"/>
                        </a:rPr>
                        <a:t>D</a:t>
                      </a:r>
                      <a:r>
                        <a:rPr lang="zh-TW" sz="1100" b="1" i="0" u="none" strike="noStrike" spc="0" noProof="0">
                          <a:solidFill>
                            <a:schemeClr val="tx1"/>
                          </a:solidFill>
                          <a:latin typeface="+mn-lt"/>
                        </a:rPr>
                        <a:t>urable </a:t>
                      </a:r>
                      <a:r>
                        <a:rPr lang="en-US" altLang="zh-TW" sz="1100" b="1" i="0" u="none" strike="noStrike" spc="0" noProof="0">
                          <a:solidFill>
                            <a:schemeClr val="tx1"/>
                          </a:solidFill>
                          <a:latin typeface="+mn-lt"/>
                        </a:rPr>
                        <a:t>G</a:t>
                      </a:r>
                      <a:r>
                        <a:rPr lang="zh-TW" sz="1100" b="1" i="0" u="none" strike="noStrike" spc="0" noProof="0">
                          <a:solidFill>
                            <a:schemeClr val="tx1"/>
                          </a:solidFill>
                          <a:latin typeface="+mn-lt"/>
                        </a:rPr>
                        <a:t>oods</a:t>
                      </a:r>
                      <a:endParaRPr lang="en-US" altLang="zh-TW" sz="1100" b="1" spc="0">
                        <a:solidFill>
                          <a:schemeClr val="tx1"/>
                        </a:solidFill>
                        <a:latin typeface="+mn-lt"/>
                      </a:endParaRPr>
                    </a:p>
                  </a:txBody>
                  <a:tcPr marL="35941" marR="35941" anchor="ctr">
                    <a:lnL w="28575" cap="flat" cmpd="sng" algn="ctr">
                      <a:noFill/>
                      <a:prstDash val="solid"/>
                      <a:round/>
                      <a:headEnd type="none" w="med" len="med"/>
                      <a:tailEnd type="none" w="med" len="med"/>
                    </a:lnL>
                    <a:lnR w="0" cap="flat" cmpd="sng" algn="ctr">
                      <a:solidFill>
                        <a:schemeClr val="bg1">
                          <a:lumMod val="65000"/>
                          <a:alpha val="0"/>
                        </a:schemeClr>
                      </a:solidFill>
                      <a:prstDash val="solid"/>
                      <a:round/>
                      <a:headEnd type="none" w="med" len="med"/>
                      <a:tailEnd type="none" w="med" len="med"/>
                    </a:lnR>
                    <a:lnT w="28575">
                      <a:solidFill>
                        <a:schemeClr val="bg1"/>
                      </a:solidFill>
                    </a:lnT>
                    <a:lnB w="28575" cap="flat" cmpd="sng" algn="ctr">
                      <a:noFill/>
                      <a:prstDash val="solid"/>
                      <a:round/>
                      <a:headEnd type="none" w="med" len="med"/>
                      <a:tailEnd type="none" w="med" len="med"/>
                    </a:lnB>
                    <a:solidFill>
                      <a:srgbClr val="D2D2D2"/>
                    </a:solidFill>
                  </a:tcPr>
                </a:tc>
                <a:tc>
                  <a:txBody>
                    <a:bodyPr/>
                    <a:lstStyle/>
                    <a:p>
                      <a:pPr algn="ctr">
                        <a:lnSpc>
                          <a:spcPct val="90000"/>
                        </a:lnSpc>
                      </a:pPr>
                      <a:r>
                        <a:rPr lang="zh-TW" altLang="en-US" sz="1100" b="0" spc="0">
                          <a:solidFill>
                            <a:schemeClr val="tx1"/>
                          </a:solidFill>
                          <a:latin typeface="+mn-lt"/>
                        </a:rPr>
                        <a:t>22.1%</a:t>
                      </a:r>
                    </a:p>
                  </a:txBody>
                  <a:tcPr marL="35941" marR="35941" anchor="ctr">
                    <a:lnL w="0" cap="flat" cmpd="sng" algn="ctr">
                      <a:solidFill>
                        <a:schemeClr val="bg1">
                          <a:lumMod val="65000"/>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a:solidFill>
                        <a:schemeClr val="bg1"/>
                      </a:solidFill>
                    </a:lnT>
                    <a:lnB w="28575" cap="flat" cmpd="sng" algn="ctr">
                      <a:noFill/>
                      <a:prstDash val="solid"/>
                      <a:round/>
                      <a:headEnd type="none" w="med" len="med"/>
                      <a:tailEnd type="none" w="med" len="med"/>
                    </a:lnB>
                    <a:solidFill>
                      <a:srgbClr val="E1E1E1"/>
                    </a:solidFill>
                  </a:tcPr>
                </a:tc>
                <a:tc>
                  <a:txBody>
                    <a:bodyPr/>
                    <a:lstStyle/>
                    <a:p>
                      <a:pPr algn="ctr">
                        <a:lnSpc>
                          <a:spcPct val="90000"/>
                        </a:lnSpc>
                      </a:pPr>
                      <a:r>
                        <a:rPr lang="zh-TW" altLang="en-US" sz="1100" b="0" spc="0">
                          <a:solidFill>
                            <a:schemeClr val="tx1"/>
                          </a:solidFill>
                          <a:latin typeface="+mn-lt"/>
                        </a:rPr>
                        <a:t>-35.3%</a:t>
                      </a:r>
                    </a:p>
                  </a:txBody>
                  <a:tcPr marL="35941" marR="35941"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a:solidFill>
                        <a:schemeClr val="bg1"/>
                      </a:solidFill>
                    </a:lnT>
                    <a:lnB w="28575" cap="flat" cmpd="sng" algn="ctr">
                      <a:noFill/>
                      <a:prstDash val="solid"/>
                      <a:round/>
                      <a:headEnd type="none" w="med" len="med"/>
                      <a:tailEnd type="none" w="med" len="med"/>
                    </a:lnB>
                    <a:solidFill>
                      <a:srgbClr val="D2D2D2"/>
                    </a:solidFill>
                  </a:tcPr>
                </a:tc>
                <a:tc>
                  <a:txBody>
                    <a:bodyPr/>
                    <a:lstStyle/>
                    <a:p>
                      <a:pPr algn="ctr">
                        <a:lnSpc>
                          <a:spcPct val="90000"/>
                        </a:lnSpc>
                      </a:pPr>
                      <a:r>
                        <a:rPr lang="zh-TW" altLang="en-US" sz="1100" b="0" spc="0">
                          <a:solidFill>
                            <a:schemeClr val="tx1"/>
                          </a:solidFill>
                          <a:latin typeface="+mn-lt"/>
                        </a:rPr>
                        <a:t>-24.6%</a:t>
                      </a:r>
                    </a:p>
                  </a:txBody>
                  <a:tcPr marL="35941" marR="35941"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a:solidFill>
                        <a:schemeClr val="bg1"/>
                      </a:solidFill>
                    </a:lnT>
                    <a:lnB w="28575" cap="flat" cmpd="sng" algn="ctr">
                      <a:noFill/>
                      <a:prstDash val="solid"/>
                      <a:round/>
                      <a:headEnd type="none" w="med" len="med"/>
                      <a:tailEnd type="none" w="med" len="med"/>
                    </a:lnB>
                    <a:solidFill>
                      <a:srgbClr val="E1E1E1"/>
                    </a:solidFill>
                  </a:tcPr>
                </a:tc>
                <a:tc>
                  <a:txBody>
                    <a:bodyPr/>
                    <a:lstStyle/>
                    <a:p>
                      <a:pPr algn="ctr">
                        <a:lnSpc>
                          <a:spcPct val="90000"/>
                        </a:lnSpc>
                      </a:pPr>
                      <a:r>
                        <a:rPr lang="zh-TW" altLang="en-US" sz="1100" b="0" spc="0">
                          <a:solidFill>
                            <a:schemeClr val="tx1"/>
                          </a:solidFill>
                          <a:latin typeface="+mn-lt"/>
                        </a:rPr>
                        <a:t>-9.7%</a:t>
                      </a:r>
                    </a:p>
                  </a:txBody>
                  <a:tcPr marL="35941" marR="35941" anchor="ctr">
                    <a:lnL w="0" cap="flat" cmpd="sng" algn="ctr">
                      <a:solidFill>
                        <a:schemeClr val="tx1">
                          <a:alpha val="0"/>
                        </a:schemeClr>
                      </a:solidFill>
                      <a:prstDash val="solid"/>
                      <a:round/>
                      <a:headEnd type="none" w="med" len="med"/>
                      <a:tailEnd type="none" w="med" len="med"/>
                    </a:lnL>
                    <a:lnR w="28575" cap="flat" cmpd="sng" algn="ctr">
                      <a:noFill/>
                      <a:prstDash val="solid"/>
                      <a:round/>
                      <a:headEnd type="none" w="med" len="med"/>
                      <a:tailEnd type="none" w="med" len="med"/>
                    </a:lnR>
                    <a:lnT w="28575">
                      <a:solidFill>
                        <a:schemeClr val="bg1"/>
                      </a:solidFill>
                    </a:lnT>
                    <a:lnB w="28575" cap="flat" cmpd="sng" algn="ctr">
                      <a:noFill/>
                      <a:prstDash val="solid"/>
                      <a:round/>
                      <a:headEnd type="none" w="med" len="med"/>
                      <a:tailEnd type="none" w="med" len="med"/>
                    </a:lnB>
                    <a:solidFill>
                      <a:srgbClr val="D2D2D2"/>
                    </a:solidFill>
                  </a:tcPr>
                </a:tc>
                <a:extLst>
                  <a:ext uri="{0D108BD9-81ED-4DB2-BD59-A6C34878D82A}">
                    <a16:rowId xmlns:a16="http://schemas.microsoft.com/office/drawing/2014/main" val="2456027505"/>
                  </a:ext>
                </a:extLst>
              </a:tr>
            </a:tbl>
          </a:graphicData>
        </a:graphic>
      </p:graphicFrame>
      <p:sp>
        <p:nvSpPr>
          <p:cNvPr id="28" name="文字方塊 9">
            <a:extLst>
              <a:ext uri="{FF2B5EF4-FFF2-40B4-BE49-F238E27FC236}">
                <a16:creationId xmlns:a16="http://schemas.microsoft.com/office/drawing/2014/main" id="{45795B3B-FDD1-938C-FA9F-A1B07B122243}"/>
              </a:ext>
            </a:extLst>
          </p:cNvPr>
          <p:cNvSpPr txBox="1"/>
          <p:nvPr/>
        </p:nvSpPr>
        <p:spPr>
          <a:xfrm>
            <a:off x="385338" y="4191000"/>
            <a:ext cx="3424662" cy="3877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zh-TW" altLang="en-US" sz="1400" b="1">
                <a:ea typeface="微軟正黑體"/>
                <a:cs typeface="Arial"/>
              </a:rPr>
              <a:t>Actual Retail Units Growth Rate from 2023 to 2024</a:t>
            </a:r>
          </a:p>
        </p:txBody>
      </p:sp>
      <p:sp>
        <p:nvSpPr>
          <p:cNvPr id="32" name="Rectangle 31">
            <a:extLst>
              <a:ext uri="{FF2B5EF4-FFF2-40B4-BE49-F238E27FC236}">
                <a16:creationId xmlns:a16="http://schemas.microsoft.com/office/drawing/2014/main" id="{520DDB2C-946C-DD65-4A2A-F27707E91899}"/>
              </a:ext>
            </a:extLst>
          </p:cNvPr>
          <p:cNvSpPr/>
          <p:nvPr/>
        </p:nvSpPr>
        <p:spPr>
          <a:xfrm>
            <a:off x="381000" y="3316407"/>
            <a:ext cx="3429000" cy="606186"/>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nSpc>
                <a:spcPct val="90000"/>
              </a:lnSpc>
              <a:spcBef>
                <a:spcPts val="300"/>
              </a:spcBef>
              <a:spcAft>
                <a:spcPct val="0"/>
              </a:spcAft>
            </a:pPr>
            <a:r>
              <a:rPr lang="en-US" sz="1400" b="1">
                <a:solidFill>
                  <a:srgbClr val="1E1E1E"/>
                </a:solidFill>
                <a:ea typeface="+mn-lt"/>
                <a:cs typeface="+mn-lt"/>
              </a:rPr>
              <a:t>Correlation at Retail Level</a:t>
            </a:r>
          </a:p>
          <a:p>
            <a:pPr>
              <a:lnSpc>
                <a:spcPct val="90000"/>
              </a:lnSpc>
              <a:spcBef>
                <a:spcPts val="300"/>
              </a:spcBef>
              <a:spcAft>
                <a:spcPct val="0"/>
              </a:spcAft>
            </a:pPr>
            <a:r>
              <a:rPr lang="en-US" sz="1200">
                <a:solidFill>
                  <a:srgbClr val="1E1E1E"/>
                </a:solidFill>
                <a:ea typeface="+mn-lt"/>
                <a:cs typeface="+mn-lt"/>
              </a:rPr>
              <a:t>Strong correlation suggests retailers prefer to stock both categories together.</a:t>
            </a:r>
            <a:endParaRPr lang="en-US"/>
          </a:p>
        </p:txBody>
      </p:sp>
      <p:cxnSp>
        <p:nvCxnSpPr>
          <p:cNvPr id="35" name="Straight Connector 34">
            <a:extLst>
              <a:ext uri="{FF2B5EF4-FFF2-40B4-BE49-F238E27FC236}">
                <a16:creationId xmlns:a16="http://schemas.microsoft.com/office/drawing/2014/main" id="{E296C50E-C2FF-B53D-4AEB-5EC97CCD6AD9}"/>
              </a:ext>
            </a:extLst>
          </p:cNvPr>
          <p:cNvCxnSpPr/>
          <p:nvPr/>
        </p:nvCxnSpPr>
        <p:spPr>
          <a:xfrm>
            <a:off x="381000" y="3136257"/>
            <a:ext cx="3429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480A780-B256-AB87-B4E9-7FC71FE0B9AD}"/>
              </a:ext>
            </a:extLst>
          </p:cNvPr>
          <p:cNvCxnSpPr/>
          <p:nvPr/>
        </p:nvCxnSpPr>
        <p:spPr>
          <a:xfrm>
            <a:off x="381000" y="4045528"/>
            <a:ext cx="3429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B9F4787-6595-4632-5D70-F07177B111C4}"/>
              </a:ext>
            </a:extLst>
          </p:cNvPr>
          <p:cNvSpPr txBox="1"/>
          <p:nvPr/>
        </p:nvSpPr>
        <p:spPr bwMode="gray">
          <a:xfrm>
            <a:off x="381001"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fld id="{6CE8C368-3382-4C28-AE75-DF7C05ACA19D}" type="slidenum">
              <a:rPr kumimoji="0" lang="en-US" sz="1000" b="0" i="0" u="none" strike="noStrike" kern="1200" cap="none" spc="0" normalizeH="0" baseline="0" noProof="0">
                <a:ln>
                  <a:noFill/>
                </a:ln>
                <a:solidFill>
                  <a:srgbClr val="1E1E1E">
                    <a:lumMod val="100000"/>
                  </a:srgbClr>
                </a:solidFill>
                <a:effectLst/>
                <a:uLnTx/>
                <a:uFillTx/>
                <a:ea typeface="+mn-ea"/>
                <a:cs typeface="+mn-cs"/>
              </a:rPr>
              <a:pPr marL="0" marR="0" lvl="0" indent="0" algn="l" defTabSz="914400" rtl="0" eaLnBrk="1" fontAlgn="auto" latinLnBrk="0" hangingPunct="1">
                <a:lnSpc>
                  <a:spcPct val="9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1E1E1E">
                  <a:lumMod val="100000"/>
                </a:srgbClr>
              </a:solidFill>
              <a:effectLst/>
              <a:uLnTx/>
              <a:uFillTx/>
              <a:ea typeface="+mn-ea"/>
              <a:cs typeface="+mn-cs"/>
            </a:endParaRPr>
          </a:p>
        </p:txBody>
      </p:sp>
      <p:pic>
        <p:nvPicPr>
          <p:cNvPr id="39" name="Picture 38">
            <a:extLst>
              <a:ext uri="{FF2B5EF4-FFF2-40B4-BE49-F238E27FC236}">
                <a16:creationId xmlns:a16="http://schemas.microsoft.com/office/drawing/2014/main" id="{DCEED2D6-860F-6220-F853-E5FCC0C93AE7}"/>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bwMode="gray">
          <a:xfrm>
            <a:off x="762000" y="6384543"/>
            <a:ext cx="765175" cy="92112"/>
          </a:xfrm>
          <a:prstGeom prst="rect">
            <a:avLst/>
          </a:prstGeom>
        </p:spPr>
      </p:pic>
      <p:sp>
        <p:nvSpPr>
          <p:cNvPr id="40" name="Rectangle 39">
            <a:extLst>
              <a:ext uri="{FF2B5EF4-FFF2-40B4-BE49-F238E27FC236}">
                <a16:creationId xmlns:a16="http://schemas.microsoft.com/office/drawing/2014/main" id="{A4A54BAD-65B6-7190-EDB0-0D69A4BFCB8A}"/>
              </a:ext>
            </a:extLst>
          </p:cNvPr>
          <p:cNvSpPr/>
          <p:nvPr>
            <p:custDataLst>
              <p:tags r:id="rId2"/>
            </p:custDataLst>
          </p:nvPr>
        </p:nvSpPr>
        <p:spPr bwMode="gray">
          <a:xfrm>
            <a:off x="4415882" y="2301689"/>
            <a:ext cx="3373451" cy="834568"/>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152400" indent="-152400" fontAlgn="base">
              <a:lnSpc>
                <a:spcPct val="90000"/>
              </a:lnSpc>
              <a:spcAft>
                <a:spcPts val="600"/>
              </a:spcAft>
              <a:buClr>
                <a:srgbClr val="1E1E1E"/>
              </a:buClr>
              <a:buSzPct val="100000"/>
              <a:buFont typeface="Arial" panose="020B0604020202020204" pitchFamily="34" charset="0"/>
              <a:buChar char="–"/>
            </a:pPr>
            <a:r>
              <a:rPr lang="en-US" sz="1200" dirty="0">
                <a:solidFill>
                  <a:schemeClr val="tx1"/>
                </a:solidFill>
                <a:ea typeface="+mn-lt"/>
                <a:cs typeface="+mn-lt"/>
              </a:rPr>
              <a:t>If Client exits durable goods it may risk </a:t>
            </a:r>
            <a:r>
              <a:rPr lang="en-US" sz="1200" b="1" dirty="0">
                <a:solidFill>
                  <a:schemeClr val="tx1"/>
                </a:solidFill>
                <a:ea typeface="+mn-lt"/>
                <a:cs typeface="+mn-lt"/>
              </a:rPr>
              <a:t>losing fast-moving goods sales</a:t>
            </a:r>
            <a:r>
              <a:rPr lang="en-US" sz="1200" dirty="0">
                <a:solidFill>
                  <a:schemeClr val="tx1"/>
                </a:solidFill>
                <a:ea typeface="+mn-lt"/>
                <a:cs typeface="+mn-lt"/>
              </a:rPr>
              <a:t> as well</a:t>
            </a:r>
            <a:endParaRPr lang="zh-TW" altLang="en-US" sz="1200">
              <a:solidFill>
                <a:schemeClr val="tx1"/>
              </a:solidFill>
              <a:ea typeface="微軟正黑體"/>
              <a:cs typeface="Arial" panose="020B0604020202020204"/>
            </a:endParaRPr>
          </a:p>
          <a:p>
            <a:pPr marL="152400" indent="-152400">
              <a:lnSpc>
                <a:spcPct val="90000"/>
              </a:lnSpc>
              <a:spcAft>
                <a:spcPts val="600"/>
              </a:spcAft>
              <a:buClr>
                <a:srgbClr val="1E1E1E"/>
              </a:buClr>
              <a:buSzPct val="100000"/>
              <a:buFont typeface="Arial" panose="020B0604020202020204" pitchFamily="34" charset="0"/>
              <a:buChar char="–"/>
            </a:pPr>
            <a:r>
              <a:rPr lang="en-US" sz="1200" dirty="0">
                <a:solidFill>
                  <a:schemeClr val="tx1"/>
                </a:solidFill>
                <a:cs typeface="Arial" panose="020B0604020202020204"/>
              </a:rPr>
              <a:t>Retailers shift towards brands that still </a:t>
            </a:r>
            <a:r>
              <a:rPr lang="en-US" sz="1200" b="1" dirty="0">
                <a:solidFill>
                  <a:schemeClr val="tx1"/>
                </a:solidFill>
                <a:cs typeface="Arial" panose="020B0604020202020204"/>
              </a:rPr>
              <a:t>offer both </a:t>
            </a:r>
            <a:r>
              <a:rPr lang="en-US" sz="1200" b="1" dirty="0">
                <a:solidFill>
                  <a:schemeClr val="tx1"/>
                </a:solidFill>
                <a:ea typeface="+mn-lt"/>
                <a:cs typeface="+mn-lt"/>
              </a:rPr>
              <a:t>durable goods </a:t>
            </a:r>
            <a:r>
              <a:rPr lang="en-US" sz="1200" b="1" dirty="0">
                <a:solidFill>
                  <a:schemeClr val="tx1"/>
                </a:solidFill>
                <a:cs typeface="Arial" panose="020B0604020202020204"/>
              </a:rPr>
              <a:t>and </a:t>
            </a:r>
            <a:r>
              <a:rPr lang="en-US" sz="1200" b="1" dirty="0">
                <a:solidFill>
                  <a:schemeClr val="tx1"/>
                </a:solidFill>
                <a:ea typeface="+mn-lt"/>
                <a:cs typeface="+mn-lt"/>
              </a:rPr>
              <a:t>fast-moving goods</a:t>
            </a:r>
          </a:p>
        </p:txBody>
      </p:sp>
      <p:graphicFrame>
        <p:nvGraphicFramePr>
          <p:cNvPr id="41" name="圖表 10">
            <a:extLst>
              <a:ext uri="{FF2B5EF4-FFF2-40B4-BE49-F238E27FC236}">
                <a16:creationId xmlns:a16="http://schemas.microsoft.com/office/drawing/2014/main" id="{640E2448-266B-965F-3967-7EF204A756E3}"/>
              </a:ext>
            </a:extLst>
          </p:cNvPr>
          <p:cNvGraphicFramePr/>
          <p:nvPr/>
        </p:nvGraphicFramePr>
        <p:xfrm>
          <a:off x="4315216" y="3429000"/>
          <a:ext cx="3685784" cy="2651413"/>
        </p:xfrm>
        <a:graphic>
          <a:graphicData uri="http://schemas.openxmlformats.org/drawingml/2006/chart">
            <c:chart xmlns:c="http://schemas.openxmlformats.org/drawingml/2006/chart" xmlns:r="http://schemas.openxmlformats.org/officeDocument/2006/relationships" r:id="rId35"/>
          </a:graphicData>
        </a:graphic>
      </p:graphicFrame>
      <p:sp>
        <p:nvSpPr>
          <p:cNvPr id="46" name="Rectangle 45">
            <a:extLst>
              <a:ext uri="{FF2B5EF4-FFF2-40B4-BE49-F238E27FC236}">
                <a16:creationId xmlns:a16="http://schemas.microsoft.com/office/drawing/2014/main" id="{8ADB4640-0D3F-0740-904A-C5FAFF1E65AD}"/>
              </a:ext>
            </a:extLst>
          </p:cNvPr>
          <p:cNvSpPr/>
          <p:nvPr>
            <p:custDataLst>
              <p:tags r:id="rId3"/>
            </p:custDataLst>
          </p:nvPr>
        </p:nvSpPr>
        <p:spPr bwMode="gray">
          <a:xfrm>
            <a:off x="8488218" y="2301689"/>
            <a:ext cx="3322782" cy="365311"/>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fontAlgn="base">
              <a:lnSpc>
                <a:spcPct val="90000"/>
              </a:lnSpc>
              <a:spcAft>
                <a:spcPts val="600"/>
              </a:spcAft>
              <a:buClr>
                <a:schemeClr val="tx1"/>
              </a:buClr>
              <a:buSzPct val="100000"/>
            </a:pPr>
            <a:r>
              <a:rPr lang="en-US" sz="1200">
                <a:solidFill>
                  <a:schemeClr val="tx1"/>
                </a:solidFill>
                <a:ea typeface="+mn-lt"/>
                <a:cs typeface="+mn-lt"/>
              </a:rPr>
              <a:t>Double down on Brand A because it can help to maintain retailer loyalty and protect sales.</a:t>
            </a:r>
          </a:p>
        </p:txBody>
      </p:sp>
      <p:cxnSp>
        <p:nvCxnSpPr>
          <p:cNvPr id="47" name="Straight Connector 46">
            <a:extLst>
              <a:ext uri="{FF2B5EF4-FFF2-40B4-BE49-F238E27FC236}">
                <a16:creationId xmlns:a16="http://schemas.microsoft.com/office/drawing/2014/main" id="{EB4967AF-3D4C-8D9C-D479-1245824C4C10}"/>
              </a:ext>
            </a:extLst>
          </p:cNvPr>
          <p:cNvCxnSpPr>
            <a:cxnSpLocks/>
          </p:cNvCxnSpPr>
          <p:nvPr/>
        </p:nvCxnSpPr>
        <p:spPr>
          <a:xfrm>
            <a:off x="8136054" y="4567656"/>
            <a:ext cx="404789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文字方塊 9">
            <a:extLst>
              <a:ext uri="{FF2B5EF4-FFF2-40B4-BE49-F238E27FC236}">
                <a16:creationId xmlns:a16="http://schemas.microsoft.com/office/drawing/2014/main" id="{67A159EB-A6F8-2098-9A78-D2A4CA034DB9}"/>
              </a:ext>
            </a:extLst>
          </p:cNvPr>
          <p:cNvSpPr txBox="1"/>
          <p:nvPr/>
        </p:nvSpPr>
        <p:spPr>
          <a:xfrm>
            <a:off x="8488218" y="2809207"/>
            <a:ext cx="1518176"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zh-TW" altLang="en-US" sz="1000" b="1">
                <a:ea typeface="微軟正黑體"/>
                <a:cs typeface="Arial"/>
              </a:rPr>
              <a:t>Durable Goods Sales Composition</a:t>
            </a:r>
            <a:endParaRPr lang="en-US" altLang="zh-TW" sz="1200"/>
          </a:p>
        </p:txBody>
      </p:sp>
      <p:sp>
        <p:nvSpPr>
          <p:cNvPr id="49" name="文字方塊 9">
            <a:extLst>
              <a:ext uri="{FF2B5EF4-FFF2-40B4-BE49-F238E27FC236}">
                <a16:creationId xmlns:a16="http://schemas.microsoft.com/office/drawing/2014/main" id="{5FDAF17E-D12E-411C-F3F8-CF6ED229E3DB}"/>
              </a:ext>
            </a:extLst>
          </p:cNvPr>
          <p:cNvSpPr txBox="1"/>
          <p:nvPr/>
        </p:nvSpPr>
        <p:spPr>
          <a:xfrm>
            <a:off x="8488218" y="4791958"/>
            <a:ext cx="1654719"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zh-TW" altLang="en-US" sz="1000" b="1">
                <a:ea typeface="微軟正黑體"/>
                <a:cs typeface="Arial"/>
              </a:rPr>
              <a:t>Fast-moving Goods Sales Composition</a:t>
            </a:r>
            <a:endParaRPr lang="en-US" altLang="zh-TW" sz="1200"/>
          </a:p>
        </p:txBody>
      </p:sp>
      <p:graphicFrame>
        <p:nvGraphicFramePr>
          <p:cNvPr id="120" name="Chart 119">
            <a:extLst>
              <a:ext uri="{FF2B5EF4-FFF2-40B4-BE49-F238E27FC236}">
                <a16:creationId xmlns:a16="http://schemas.microsoft.com/office/drawing/2014/main" id="{32E670FB-5EE6-A217-EE73-6C2623911D47}"/>
              </a:ext>
            </a:extLst>
          </p:cNvPr>
          <p:cNvGraphicFramePr/>
          <p:nvPr>
            <p:custDataLst>
              <p:tags r:id="rId4"/>
            </p:custDataLst>
          </p:nvPr>
        </p:nvGraphicFramePr>
        <p:xfrm>
          <a:off x="9826625" y="2471738"/>
          <a:ext cx="2419350" cy="2246312"/>
        </p:xfrm>
        <a:graphic>
          <a:graphicData uri="http://schemas.openxmlformats.org/drawingml/2006/chart">
            <c:chart xmlns:c="http://schemas.openxmlformats.org/drawingml/2006/chart" xmlns:r="http://schemas.openxmlformats.org/officeDocument/2006/relationships" r:id="rId36"/>
          </a:graphicData>
        </a:graphic>
      </p:graphicFrame>
      <p:sp>
        <p:nvSpPr>
          <p:cNvPr id="82" name="Text Placeholder 2">
            <a:extLst>
              <a:ext uri="{FF2B5EF4-FFF2-40B4-BE49-F238E27FC236}">
                <a16:creationId xmlns:a16="http://schemas.microsoft.com/office/drawing/2014/main" id="{BA6AB4B1-7789-CE46-95B2-2777D779360B}"/>
              </a:ext>
            </a:extLst>
          </p:cNvPr>
          <p:cNvSpPr>
            <a:spLocks noGrp="1"/>
          </p:cNvSpPr>
          <p:nvPr>
            <p:custDataLst>
              <p:tags r:id="rId5"/>
            </p:custDataLst>
          </p:nvPr>
        </p:nvSpPr>
        <p:spPr bwMode="gray">
          <a:xfrm>
            <a:off x="10880725" y="2847975"/>
            <a:ext cx="269875" cy="165100"/>
          </a:xfrm>
          <a:prstGeom prst="rect">
            <a:avLst/>
          </a:prstGeom>
          <a:solidFill>
            <a:srgbClr val="C8A5F0"/>
          </a:solidFill>
          <a:ln>
            <a:noFill/>
          </a:ln>
          <a:effec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6D46A732-0025-4E7B-BF0D-39BB6F427BB1}" type="datetime'''1''''%'">
              <a:rPr lang="en-US" altLang="en-US" sz="1200" smtClean="0">
                <a:effectLst/>
              </a:rPr>
              <a:pPr lvl="0" algn="ctr" defTabSz="914400" eaLnBrk="1" latinLnBrk="0" hangingPunct="1">
                <a:spcBef>
                  <a:spcPct val="0"/>
                </a:spcBef>
                <a:spcAft>
                  <a:spcPct val="0"/>
                </a:spcAft>
                <a:buFont typeface="Arial" panose="020B0604020202020204" pitchFamily="34" charset="0"/>
                <a:buNone/>
              </a:pPr>
              <a:t>1%</a:t>
            </a:fld>
            <a:endParaRPr lang="en-US" sz="1200" noProof="0"/>
          </a:p>
        </p:txBody>
      </p:sp>
      <p:sp>
        <p:nvSpPr>
          <p:cNvPr id="121" name="Rectangle 120">
            <a:extLst>
              <a:ext uri="{FF2B5EF4-FFF2-40B4-BE49-F238E27FC236}">
                <a16:creationId xmlns:a16="http://schemas.microsoft.com/office/drawing/2014/main" id="{25DE3096-1B71-5528-263C-45000E61417E}"/>
              </a:ext>
            </a:extLst>
          </p:cNvPr>
          <p:cNvSpPr/>
          <p:nvPr>
            <p:custDataLst>
              <p:tags r:id="rId6"/>
            </p:custDataLst>
          </p:nvPr>
        </p:nvSpPr>
        <p:spPr bwMode="auto">
          <a:xfrm>
            <a:off x="8501063" y="3592513"/>
            <a:ext cx="179388" cy="133350"/>
          </a:xfrm>
          <a:prstGeom prst="rect">
            <a:avLst/>
          </a:prstGeom>
          <a:solidFill>
            <a:srgbClr val="D2D2D2"/>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22" name="Rectangle 121">
            <a:extLst>
              <a:ext uri="{FF2B5EF4-FFF2-40B4-BE49-F238E27FC236}">
                <a16:creationId xmlns:a16="http://schemas.microsoft.com/office/drawing/2014/main" id="{369FD367-48FB-7EF1-460E-69A8AF05EA14}"/>
              </a:ext>
            </a:extLst>
          </p:cNvPr>
          <p:cNvSpPr/>
          <p:nvPr>
            <p:custDataLst>
              <p:tags r:id="rId7"/>
            </p:custDataLst>
          </p:nvPr>
        </p:nvSpPr>
        <p:spPr bwMode="auto">
          <a:xfrm>
            <a:off x="8501063" y="3787775"/>
            <a:ext cx="179388" cy="133350"/>
          </a:xfrm>
          <a:prstGeom prst="rect">
            <a:avLst/>
          </a:prstGeom>
          <a:solidFill>
            <a:srgbClr val="A5A5A5"/>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23" name="Rectangle 122">
            <a:extLst>
              <a:ext uri="{FF2B5EF4-FFF2-40B4-BE49-F238E27FC236}">
                <a16:creationId xmlns:a16="http://schemas.microsoft.com/office/drawing/2014/main" id="{6B1583BB-01C2-AA8B-13EB-7A6780A3DDCC}"/>
              </a:ext>
            </a:extLst>
          </p:cNvPr>
          <p:cNvSpPr/>
          <p:nvPr>
            <p:custDataLst>
              <p:tags r:id="rId8"/>
            </p:custDataLst>
          </p:nvPr>
        </p:nvSpPr>
        <p:spPr bwMode="auto">
          <a:xfrm>
            <a:off x="8501063" y="3983038"/>
            <a:ext cx="179388" cy="133350"/>
          </a:xfrm>
          <a:prstGeom prst="rect">
            <a:avLst/>
          </a:prstGeom>
          <a:solidFill>
            <a:srgbClr val="787878"/>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24" name="Rectangle 123">
            <a:extLst>
              <a:ext uri="{FF2B5EF4-FFF2-40B4-BE49-F238E27FC236}">
                <a16:creationId xmlns:a16="http://schemas.microsoft.com/office/drawing/2014/main" id="{92FFFD84-E2FD-96DA-9BD9-9CB39342E368}"/>
              </a:ext>
            </a:extLst>
          </p:cNvPr>
          <p:cNvSpPr/>
          <p:nvPr>
            <p:custDataLst>
              <p:tags r:id="rId9"/>
            </p:custDataLst>
          </p:nvPr>
        </p:nvSpPr>
        <p:spPr bwMode="auto">
          <a:xfrm>
            <a:off x="9296400" y="3592513"/>
            <a:ext cx="179388" cy="133350"/>
          </a:xfrm>
          <a:prstGeom prst="rect">
            <a:avLst/>
          </a:prstGeom>
          <a:solidFill>
            <a:srgbClr val="E6D2FA"/>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25" name="Rectangle 124">
            <a:extLst>
              <a:ext uri="{FF2B5EF4-FFF2-40B4-BE49-F238E27FC236}">
                <a16:creationId xmlns:a16="http://schemas.microsoft.com/office/drawing/2014/main" id="{376B4474-5A84-F8AE-8A75-CBF8D779321B}"/>
              </a:ext>
            </a:extLst>
          </p:cNvPr>
          <p:cNvSpPr/>
          <p:nvPr>
            <p:custDataLst>
              <p:tags r:id="rId10"/>
            </p:custDataLst>
          </p:nvPr>
        </p:nvSpPr>
        <p:spPr bwMode="auto">
          <a:xfrm>
            <a:off x="9296400" y="3787775"/>
            <a:ext cx="179388" cy="133350"/>
          </a:xfrm>
          <a:prstGeom prst="rect">
            <a:avLst/>
          </a:prstGeom>
          <a:solidFill>
            <a:srgbClr val="C8A5F0"/>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16" name="Text Placeholder 2">
            <a:extLst>
              <a:ext uri="{FF2B5EF4-FFF2-40B4-BE49-F238E27FC236}">
                <a16:creationId xmlns:a16="http://schemas.microsoft.com/office/drawing/2014/main" id="{BA6AB4B1-7789-CE46-95B2-2777D779360B}"/>
              </a:ext>
            </a:extLst>
          </p:cNvPr>
          <p:cNvSpPr>
            <a:spLocks noGrp="1"/>
          </p:cNvSpPr>
          <p:nvPr>
            <p:custDataLst>
              <p:tags r:id="rId11"/>
            </p:custDataLst>
          </p:nvPr>
        </p:nvSpPr>
        <p:spPr bwMode="auto">
          <a:xfrm>
            <a:off x="8731250" y="3600450"/>
            <a:ext cx="455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defTabSz="914400" eaLnBrk="1" latinLnBrk="0" hangingPunct="1">
              <a:lnSpc>
                <a:spcPct val="90000"/>
              </a:lnSpc>
              <a:spcBef>
                <a:spcPct val="0"/>
              </a:spcBef>
              <a:spcAft>
                <a:spcPct val="0"/>
              </a:spcAft>
              <a:buFont typeface="Arial" panose="020B0604020202020204" pitchFamily="34" charset="0"/>
              <a:buNone/>
            </a:pPr>
            <a:fld id="{CCB7F2EA-E46E-4556-98ED-59E93845015D}" type="datetime'''''Br''a''''''''''''n''''''''''''''''''d ''''''A'''''">
              <a:rPr lang="en-US" altLang="en-US" sz="1000" smtClean="0">
                <a:effectLst/>
              </a:rPr>
              <a:pPr lvl="0" defTabSz="914400" eaLnBrk="1" latinLnBrk="0" hangingPunct="1">
                <a:lnSpc>
                  <a:spcPct val="90000"/>
                </a:lnSpc>
                <a:spcBef>
                  <a:spcPct val="0"/>
                </a:spcBef>
                <a:spcAft>
                  <a:spcPct val="0"/>
                </a:spcAft>
                <a:buFont typeface="Arial" panose="020B0604020202020204" pitchFamily="34" charset="0"/>
                <a:buNone/>
              </a:pPr>
              <a:t>Brand A</a:t>
            </a:fld>
            <a:endParaRPr lang="en-US" sz="1000" noProof="0"/>
          </a:p>
        </p:txBody>
      </p:sp>
      <p:sp>
        <p:nvSpPr>
          <p:cNvPr id="117" name="Text Placeholder 2">
            <a:extLst>
              <a:ext uri="{FF2B5EF4-FFF2-40B4-BE49-F238E27FC236}">
                <a16:creationId xmlns:a16="http://schemas.microsoft.com/office/drawing/2014/main" id="{BA6AB4B1-7789-CE46-95B2-2777D779360B}"/>
              </a:ext>
            </a:extLst>
          </p:cNvPr>
          <p:cNvSpPr>
            <a:spLocks noGrp="1"/>
          </p:cNvSpPr>
          <p:nvPr>
            <p:custDataLst>
              <p:tags r:id="rId12"/>
            </p:custDataLst>
          </p:nvPr>
        </p:nvSpPr>
        <p:spPr bwMode="auto">
          <a:xfrm>
            <a:off x="8731250" y="3795713"/>
            <a:ext cx="455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defTabSz="914400" eaLnBrk="1" latinLnBrk="0" hangingPunct="1">
              <a:lnSpc>
                <a:spcPct val="90000"/>
              </a:lnSpc>
              <a:spcBef>
                <a:spcPct val="0"/>
              </a:spcBef>
              <a:spcAft>
                <a:spcPct val="0"/>
              </a:spcAft>
              <a:buFont typeface="Arial" panose="020B0604020202020204" pitchFamily="34" charset="0"/>
              <a:buNone/>
            </a:pPr>
            <a:fld id="{7A646E61-F452-4146-A40A-8B8455BEB7DC}" type="datetime'B''''''''''''''''''''r''''''''''a''''''n''''''''''d'''' ''B'">
              <a:rPr lang="en-US" altLang="en-US" sz="1000" smtClean="0">
                <a:effectLst/>
              </a:rPr>
              <a:pPr lvl="0" defTabSz="914400" eaLnBrk="1" latinLnBrk="0" hangingPunct="1">
                <a:lnSpc>
                  <a:spcPct val="90000"/>
                </a:lnSpc>
                <a:spcBef>
                  <a:spcPct val="0"/>
                </a:spcBef>
                <a:spcAft>
                  <a:spcPct val="0"/>
                </a:spcAft>
                <a:buFont typeface="Arial" panose="020B0604020202020204" pitchFamily="34" charset="0"/>
                <a:buNone/>
              </a:pPr>
              <a:t>Brand B</a:t>
            </a:fld>
            <a:endParaRPr lang="en-US" sz="1000" noProof="0"/>
          </a:p>
        </p:txBody>
      </p:sp>
      <p:sp>
        <p:nvSpPr>
          <p:cNvPr id="118" name="Text Placeholder 2">
            <a:extLst>
              <a:ext uri="{FF2B5EF4-FFF2-40B4-BE49-F238E27FC236}">
                <a16:creationId xmlns:a16="http://schemas.microsoft.com/office/drawing/2014/main" id="{BA6AB4B1-7789-CE46-95B2-2777D779360B}"/>
              </a:ext>
            </a:extLst>
          </p:cNvPr>
          <p:cNvSpPr>
            <a:spLocks noGrp="1"/>
          </p:cNvSpPr>
          <p:nvPr>
            <p:custDataLst>
              <p:tags r:id="rId13"/>
            </p:custDataLst>
          </p:nvPr>
        </p:nvSpPr>
        <p:spPr bwMode="auto">
          <a:xfrm>
            <a:off x="8731250" y="3990975"/>
            <a:ext cx="463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defTabSz="914400" eaLnBrk="1" latinLnBrk="0" hangingPunct="1">
              <a:lnSpc>
                <a:spcPct val="90000"/>
              </a:lnSpc>
              <a:spcBef>
                <a:spcPct val="0"/>
              </a:spcBef>
              <a:spcAft>
                <a:spcPct val="0"/>
              </a:spcAft>
              <a:buFont typeface="Arial" panose="020B0604020202020204" pitchFamily="34" charset="0"/>
              <a:buNone/>
            </a:pPr>
            <a:fld id="{FD477431-25E1-4421-A4A2-E9ACE56017CF}" type="datetime'''''''B''''''''r''''''''a''nd'''''''' ''''C'''''''''''''''''''">
              <a:rPr lang="en-US" altLang="en-US" sz="1000" smtClean="0">
                <a:effectLst/>
              </a:rPr>
              <a:pPr lvl="0" defTabSz="914400" eaLnBrk="1" latinLnBrk="0" hangingPunct="1">
                <a:lnSpc>
                  <a:spcPct val="90000"/>
                </a:lnSpc>
                <a:spcBef>
                  <a:spcPct val="0"/>
                </a:spcBef>
                <a:spcAft>
                  <a:spcPct val="0"/>
                </a:spcAft>
                <a:buFont typeface="Arial" panose="020B0604020202020204" pitchFamily="34" charset="0"/>
                <a:buNone/>
              </a:pPr>
              <a:t>Brand C</a:t>
            </a:fld>
            <a:endParaRPr lang="en-US" sz="1000" noProof="0"/>
          </a:p>
        </p:txBody>
      </p:sp>
      <p:sp>
        <p:nvSpPr>
          <p:cNvPr id="114" name="Text Placeholder 2">
            <a:extLst>
              <a:ext uri="{FF2B5EF4-FFF2-40B4-BE49-F238E27FC236}">
                <a16:creationId xmlns:a16="http://schemas.microsoft.com/office/drawing/2014/main" id="{BA6AB4B1-7789-CE46-95B2-2777D779360B}"/>
              </a:ext>
            </a:extLst>
          </p:cNvPr>
          <p:cNvSpPr>
            <a:spLocks noGrp="1"/>
          </p:cNvSpPr>
          <p:nvPr>
            <p:custDataLst>
              <p:tags r:id="rId14"/>
            </p:custDataLst>
          </p:nvPr>
        </p:nvSpPr>
        <p:spPr bwMode="auto">
          <a:xfrm>
            <a:off x="9526588" y="3600450"/>
            <a:ext cx="463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defTabSz="914400" eaLnBrk="1" latinLnBrk="0" hangingPunct="1">
              <a:lnSpc>
                <a:spcPct val="90000"/>
              </a:lnSpc>
              <a:spcBef>
                <a:spcPct val="0"/>
              </a:spcBef>
              <a:spcAft>
                <a:spcPct val="0"/>
              </a:spcAft>
              <a:buFont typeface="Arial" panose="020B0604020202020204" pitchFamily="34" charset="0"/>
              <a:buNone/>
            </a:pPr>
            <a:fld id="{29879089-4C89-4D2C-A163-638440F19570}" type="datetime'''B''''''r''''a''''n''''d ''''''''''''''D'">
              <a:rPr lang="en-US" altLang="en-US" sz="1000" smtClean="0">
                <a:effectLst/>
              </a:rPr>
              <a:pPr lvl="0" defTabSz="914400" eaLnBrk="1" latinLnBrk="0" hangingPunct="1">
                <a:lnSpc>
                  <a:spcPct val="90000"/>
                </a:lnSpc>
                <a:spcBef>
                  <a:spcPct val="0"/>
                </a:spcBef>
                <a:spcAft>
                  <a:spcPct val="0"/>
                </a:spcAft>
                <a:buFont typeface="Arial" panose="020B0604020202020204" pitchFamily="34" charset="0"/>
                <a:buNone/>
              </a:pPr>
              <a:t>Brand D</a:t>
            </a:fld>
            <a:endParaRPr lang="en-US" sz="1000" noProof="0"/>
          </a:p>
        </p:txBody>
      </p:sp>
      <p:sp>
        <p:nvSpPr>
          <p:cNvPr id="119" name="Text Placeholder 2">
            <a:extLst>
              <a:ext uri="{FF2B5EF4-FFF2-40B4-BE49-F238E27FC236}">
                <a16:creationId xmlns:a16="http://schemas.microsoft.com/office/drawing/2014/main" id="{BA6AB4B1-7789-CE46-95B2-2777D779360B}"/>
              </a:ext>
            </a:extLst>
          </p:cNvPr>
          <p:cNvSpPr>
            <a:spLocks noGrp="1"/>
          </p:cNvSpPr>
          <p:nvPr>
            <p:custDataLst>
              <p:tags r:id="rId15"/>
            </p:custDataLst>
          </p:nvPr>
        </p:nvSpPr>
        <p:spPr bwMode="auto">
          <a:xfrm>
            <a:off x="9526588" y="3795713"/>
            <a:ext cx="455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defTabSz="914400" eaLnBrk="1" latinLnBrk="0" hangingPunct="1">
              <a:lnSpc>
                <a:spcPct val="90000"/>
              </a:lnSpc>
              <a:spcBef>
                <a:spcPct val="0"/>
              </a:spcBef>
              <a:spcAft>
                <a:spcPct val="0"/>
              </a:spcAft>
              <a:buFont typeface="Arial" panose="020B0604020202020204" pitchFamily="34" charset="0"/>
              <a:buNone/>
            </a:pPr>
            <a:fld id="{04DBE481-7213-41A2-A156-80977E511E9F}" type="datetime'B''''''''''''''''''ra''nd'''''''''' ''''''''E'''''''''''''''''">
              <a:rPr lang="en-US" altLang="en-US" sz="1000" smtClean="0">
                <a:effectLst/>
              </a:rPr>
              <a:pPr lvl="0" defTabSz="914400" eaLnBrk="1" latinLnBrk="0" hangingPunct="1">
                <a:lnSpc>
                  <a:spcPct val="90000"/>
                </a:lnSpc>
                <a:spcBef>
                  <a:spcPct val="0"/>
                </a:spcBef>
                <a:spcAft>
                  <a:spcPct val="0"/>
                </a:spcAft>
                <a:buFont typeface="Arial" panose="020B0604020202020204" pitchFamily="34" charset="0"/>
                <a:buNone/>
              </a:pPr>
              <a:t>Brand E</a:t>
            </a:fld>
            <a:endParaRPr lang="en-US" sz="1000" noProof="0"/>
          </a:p>
        </p:txBody>
      </p:sp>
      <p:graphicFrame>
        <p:nvGraphicFramePr>
          <p:cNvPr id="156" name="Chart 155">
            <a:extLst>
              <a:ext uri="{FF2B5EF4-FFF2-40B4-BE49-F238E27FC236}">
                <a16:creationId xmlns:a16="http://schemas.microsoft.com/office/drawing/2014/main" id="{8E2A1731-DA99-421D-13BE-78B69BEF38BF}"/>
              </a:ext>
            </a:extLst>
          </p:cNvPr>
          <p:cNvGraphicFramePr/>
          <p:nvPr>
            <p:custDataLst>
              <p:tags r:id="rId16"/>
            </p:custDataLst>
          </p:nvPr>
        </p:nvGraphicFramePr>
        <p:xfrm>
          <a:off x="9826625" y="4683125"/>
          <a:ext cx="2419350" cy="2246313"/>
        </p:xfrm>
        <a:graphic>
          <a:graphicData uri="http://schemas.openxmlformats.org/drawingml/2006/chart">
            <c:chart xmlns:c="http://schemas.openxmlformats.org/drawingml/2006/chart" xmlns:r="http://schemas.openxmlformats.org/officeDocument/2006/relationships" r:id="rId37"/>
          </a:graphicData>
        </a:graphic>
      </p:graphicFrame>
      <p:sp>
        <p:nvSpPr>
          <p:cNvPr id="135" name="Text Placeholder 2">
            <a:extLst>
              <a:ext uri="{FF2B5EF4-FFF2-40B4-BE49-F238E27FC236}">
                <a16:creationId xmlns:a16="http://schemas.microsoft.com/office/drawing/2014/main" id="{63D626A5-383C-34BA-A4B7-BFDD70EAAD5D}"/>
              </a:ext>
            </a:extLst>
          </p:cNvPr>
          <p:cNvSpPr>
            <a:spLocks noGrp="1"/>
          </p:cNvSpPr>
          <p:nvPr>
            <p:custDataLst>
              <p:tags r:id="rId17"/>
            </p:custDataLst>
          </p:nvPr>
        </p:nvSpPr>
        <p:spPr bwMode="gray">
          <a:xfrm>
            <a:off x="10888663" y="5321300"/>
            <a:ext cx="269875" cy="165100"/>
          </a:xfrm>
          <a:prstGeom prst="rect">
            <a:avLst/>
          </a:prstGeom>
          <a:solidFill>
            <a:srgbClr val="C8A5F0"/>
          </a:solidFill>
          <a:ln>
            <a:noFill/>
          </a:ln>
          <a:effec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5A524BC9-C5F7-40CC-AA91-685639CDCFAB}" type="datetime'''''1''''''''''''''''''%'''''''''''''''''''''">
              <a:rPr lang="en-US" altLang="en-US" sz="1200" smtClean="0">
                <a:effectLst/>
              </a:rPr>
              <a:pPr lvl="0" algn="ctr" defTabSz="914400" eaLnBrk="1" latinLnBrk="0" hangingPunct="1">
                <a:spcBef>
                  <a:spcPct val="0"/>
                </a:spcBef>
                <a:spcAft>
                  <a:spcPct val="0"/>
                </a:spcAft>
                <a:buFont typeface="Arial" panose="020B0604020202020204" pitchFamily="34" charset="0"/>
                <a:buNone/>
              </a:pPr>
              <a:t>1%</a:t>
            </a:fld>
            <a:endParaRPr lang="en-US" sz="1200" noProof="0"/>
          </a:p>
        </p:txBody>
      </p:sp>
      <p:sp>
        <p:nvSpPr>
          <p:cNvPr id="151" name="Text Placeholder 2">
            <a:extLst>
              <a:ext uri="{FF2B5EF4-FFF2-40B4-BE49-F238E27FC236}">
                <a16:creationId xmlns:a16="http://schemas.microsoft.com/office/drawing/2014/main" id="{BA6AB4B1-7789-CE46-95B2-2777D779360B}"/>
              </a:ext>
            </a:extLst>
          </p:cNvPr>
          <p:cNvSpPr>
            <a:spLocks noGrp="1"/>
          </p:cNvSpPr>
          <p:nvPr>
            <p:custDataLst>
              <p:tags r:id="rId18"/>
            </p:custDataLst>
          </p:nvPr>
        </p:nvSpPr>
        <p:spPr bwMode="gray">
          <a:xfrm>
            <a:off x="10461625" y="6162675"/>
            <a:ext cx="269875" cy="165100"/>
          </a:xfrm>
          <a:prstGeom prst="rect">
            <a:avLst/>
          </a:prstGeom>
          <a:solidFill>
            <a:srgbClr val="A5A5A5"/>
          </a:solidFill>
          <a:ln>
            <a:noFill/>
          </a:ln>
          <a:effec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2023E406-7885-4A62-A9EF-779C5EC8A1DF}" type="datetime'''''''''''''''''1''%'''''''''''''">
              <a:rPr lang="en-US" altLang="en-US" sz="1200" smtClean="0">
                <a:effectLst/>
              </a:rPr>
              <a:pPr lvl="0" algn="ctr" defTabSz="914400" eaLnBrk="1" latinLnBrk="0" hangingPunct="1">
                <a:spcBef>
                  <a:spcPct val="0"/>
                </a:spcBef>
                <a:spcAft>
                  <a:spcPct val="0"/>
                </a:spcAft>
                <a:buFont typeface="Arial" panose="020B0604020202020204" pitchFamily="34" charset="0"/>
                <a:buNone/>
              </a:pPr>
              <a:t>1%</a:t>
            </a:fld>
            <a:endParaRPr lang="en-US" sz="1200" noProof="0"/>
          </a:p>
        </p:txBody>
      </p:sp>
      <p:sp>
        <p:nvSpPr>
          <p:cNvPr id="136" name="Rectangle 135">
            <a:extLst>
              <a:ext uri="{FF2B5EF4-FFF2-40B4-BE49-F238E27FC236}">
                <a16:creationId xmlns:a16="http://schemas.microsoft.com/office/drawing/2014/main" id="{E99597EA-CDFE-5242-2E3F-1DCC09A0F091}"/>
              </a:ext>
            </a:extLst>
          </p:cNvPr>
          <p:cNvSpPr/>
          <p:nvPr>
            <p:custDataLst>
              <p:tags r:id="rId19"/>
            </p:custDataLst>
          </p:nvPr>
        </p:nvSpPr>
        <p:spPr bwMode="auto">
          <a:xfrm>
            <a:off x="8501063" y="6048375"/>
            <a:ext cx="179388" cy="133350"/>
          </a:xfrm>
          <a:prstGeom prst="rect">
            <a:avLst/>
          </a:prstGeom>
          <a:solidFill>
            <a:srgbClr val="D2D2D2"/>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37" name="Rectangle 136">
            <a:extLst>
              <a:ext uri="{FF2B5EF4-FFF2-40B4-BE49-F238E27FC236}">
                <a16:creationId xmlns:a16="http://schemas.microsoft.com/office/drawing/2014/main" id="{0BB3DA1F-9028-6436-7CB5-EE1EAAED5F41}"/>
              </a:ext>
            </a:extLst>
          </p:cNvPr>
          <p:cNvSpPr/>
          <p:nvPr>
            <p:custDataLst>
              <p:tags r:id="rId20"/>
            </p:custDataLst>
          </p:nvPr>
        </p:nvSpPr>
        <p:spPr bwMode="auto">
          <a:xfrm>
            <a:off x="8501063" y="6243638"/>
            <a:ext cx="179388" cy="133350"/>
          </a:xfrm>
          <a:prstGeom prst="rect">
            <a:avLst/>
          </a:prstGeom>
          <a:solidFill>
            <a:srgbClr val="A5A5A5"/>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38" name="Rectangle 137">
            <a:extLst>
              <a:ext uri="{FF2B5EF4-FFF2-40B4-BE49-F238E27FC236}">
                <a16:creationId xmlns:a16="http://schemas.microsoft.com/office/drawing/2014/main" id="{D8E1EA27-9286-F144-506F-6A24F7F2DEBA}"/>
              </a:ext>
            </a:extLst>
          </p:cNvPr>
          <p:cNvSpPr/>
          <p:nvPr>
            <p:custDataLst>
              <p:tags r:id="rId21"/>
            </p:custDataLst>
          </p:nvPr>
        </p:nvSpPr>
        <p:spPr bwMode="auto">
          <a:xfrm>
            <a:off x="8501063" y="6438900"/>
            <a:ext cx="179388" cy="133350"/>
          </a:xfrm>
          <a:prstGeom prst="rect">
            <a:avLst/>
          </a:prstGeom>
          <a:solidFill>
            <a:srgbClr val="787878"/>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39" name="Rectangle 138">
            <a:extLst>
              <a:ext uri="{FF2B5EF4-FFF2-40B4-BE49-F238E27FC236}">
                <a16:creationId xmlns:a16="http://schemas.microsoft.com/office/drawing/2014/main" id="{463FA2CE-F413-2F12-746A-3753C44BF2EF}"/>
              </a:ext>
            </a:extLst>
          </p:cNvPr>
          <p:cNvSpPr/>
          <p:nvPr>
            <p:custDataLst>
              <p:tags r:id="rId22"/>
            </p:custDataLst>
          </p:nvPr>
        </p:nvSpPr>
        <p:spPr bwMode="auto">
          <a:xfrm>
            <a:off x="9296400" y="6048375"/>
            <a:ext cx="179388" cy="133350"/>
          </a:xfrm>
          <a:prstGeom prst="rect">
            <a:avLst/>
          </a:prstGeom>
          <a:solidFill>
            <a:srgbClr val="E6D2FA"/>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40" name="Rectangle 139">
            <a:extLst>
              <a:ext uri="{FF2B5EF4-FFF2-40B4-BE49-F238E27FC236}">
                <a16:creationId xmlns:a16="http://schemas.microsoft.com/office/drawing/2014/main" id="{1EFC9457-1509-067F-6CC8-74A171FF3211}"/>
              </a:ext>
            </a:extLst>
          </p:cNvPr>
          <p:cNvSpPr/>
          <p:nvPr>
            <p:custDataLst>
              <p:tags r:id="rId23"/>
            </p:custDataLst>
          </p:nvPr>
        </p:nvSpPr>
        <p:spPr bwMode="auto">
          <a:xfrm>
            <a:off x="9296400" y="6243638"/>
            <a:ext cx="179388" cy="133350"/>
          </a:xfrm>
          <a:prstGeom prst="rect">
            <a:avLst/>
          </a:prstGeom>
          <a:solidFill>
            <a:srgbClr val="C8A5F0"/>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42" name="Text Placeholder 2">
            <a:extLst>
              <a:ext uri="{FF2B5EF4-FFF2-40B4-BE49-F238E27FC236}">
                <a16:creationId xmlns:a16="http://schemas.microsoft.com/office/drawing/2014/main" id="{10B349D5-EF2A-3FF1-F421-BEC04BC08E71}"/>
              </a:ext>
            </a:extLst>
          </p:cNvPr>
          <p:cNvSpPr>
            <a:spLocks noGrp="1"/>
          </p:cNvSpPr>
          <p:nvPr>
            <p:custDataLst>
              <p:tags r:id="rId24"/>
            </p:custDataLst>
          </p:nvPr>
        </p:nvSpPr>
        <p:spPr bwMode="auto">
          <a:xfrm>
            <a:off x="8731250" y="6056313"/>
            <a:ext cx="455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C4E8EA7F-583A-4E79-85B8-119753B169FB}" type="datetime'''''''B''''''''''''''r''''''''''''''''a''n''''d'''' ''A'''">
              <a:rPr lang="en-US" altLang="en-US" sz="1000" smtClean="0"/>
              <a:pPr lvl="0">
                <a:spcBef>
                  <a:spcPct val="0"/>
                </a:spcBef>
                <a:spcAft>
                  <a:spcPct val="0"/>
                </a:spcAft>
              </a:pPr>
              <a:t>Brand A</a:t>
            </a:fld>
            <a:endParaRPr lang="en-US" sz="1000" noProof="0"/>
          </a:p>
        </p:txBody>
      </p:sp>
      <p:sp>
        <p:nvSpPr>
          <p:cNvPr id="143" name="Text Placeholder 2">
            <a:extLst>
              <a:ext uri="{FF2B5EF4-FFF2-40B4-BE49-F238E27FC236}">
                <a16:creationId xmlns:a16="http://schemas.microsoft.com/office/drawing/2014/main" id="{C82F6D87-7694-C366-8EE9-2528D3A32214}"/>
              </a:ext>
            </a:extLst>
          </p:cNvPr>
          <p:cNvSpPr>
            <a:spLocks noGrp="1"/>
          </p:cNvSpPr>
          <p:nvPr>
            <p:custDataLst>
              <p:tags r:id="rId25"/>
            </p:custDataLst>
          </p:nvPr>
        </p:nvSpPr>
        <p:spPr bwMode="auto">
          <a:xfrm>
            <a:off x="8731250" y="6251575"/>
            <a:ext cx="455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2C31E467-CABC-4595-9812-8A2795827732}" type="datetime'''''''''''''B''r''''''''''''''an''''''''''''''d B'''">
              <a:rPr lang="en-US" altLang="en-US" sz="1000" smtClean="0"/>
              <a:pPr lvl="0">
                <a:spcBef>
                  <a:spcPct val="0"/>
                </a:spcBef>
                <a:spcAft>
                  <a:spcPct val="0"/>
                </a:spcAft>
              </a:pPr>
              <a:t>Brand B</a:t>
            </a:fld>
            <a:endParaRPr lang="en-US" sz="1000" noProof="0"/>
          </a:p>
        </p:txBody>
      </p:sp>
      <p:sp>
        <p:nvSpPr>
          <p:cNvPr id="144" name="Text Placeholder 2">
            <a:extLst>
              <a:ext uri="{FF2B5EF4-FFF2-40B4-BE49-F238E27FC236}">
                <a16:creationId xmlns:a16="http://schemas.microsoft.com/office/drawing/2014/main" id="{E1C1D801-8F12-0A2E-B835-5FD83ED5FA71}"/>
              </a:ext>
            </a:extLst>
          </p:cNvPr>
          <p:cNvSpPr>
            <a:spLocks noGrp="1"/>
          </p:cNvSpPr>
          <p:nvPr>
            <p:custDataLst>
              <p:tags r:id="rId26"/>
            </p:custDataLst>
          </p:nvPr>
        </p:nvSpPr>
        <p:spPr bwMode="auto">
          <a:xfrm>
            <a:off x="8731250" y="6446838"/>
            <a:ext cx="463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ct val="0"/>
              </a:spcBef>
              <a:spcAft>
                <a:spcPct val="0"/>
              </a:spcAft>
            </a:pPr>
            <a:r>
              <a:rPr lang="en-US" altLang="en-US" sz="1000">
                <a:cs typeface="Arial"/>
              </a:rPr>
              <a:t>Brand E</a:t>
            </a:r>
            <a:endParaRPr lang="en-US" altLang="en-US" sz="1000" noProof="0">
              <a:cs typeface="Arial"/>
            </a:endParaRPr>
          </a:p>
        </p:txBody>
      </p:sp>
      <p:sp>
        <p:nvSpPr>
          <p:cNvPr id="141" name="Text Placeholder 2">
            <a:extLst>
              <a:ext uri="{FF2B5EF4-FFF2-40B4-BE49-F238E27FC236}">
                <a16:creationId xmlns:a16="http://schemas.microsoft.com/office/drawing/2014/main" id="{0A92E51C-2615-CBF1-A952-094830CCF2FE}"/>
              </a:ext>
            </a:extLst>
          </p:cNvPr>
          <p:cNvSpPr>
            <a:spLocks noGrp="1"/>
          </p:cNvSpPr>
          <p:nvPr>
            <p:custDataLst>
              <p:tags r:id="rId27"/>
            </p:custDataLst>
          </p:nvPr>
        </p:nvSpPr>
        <p:spPr bwMode="auto">
          <a:xfrm>
            <a:off x="9526588" y="6056313"/>
            <a:ext cx="463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DFAB1A99-C8BC-41E3-8AC1-AEC6F0D3F954}" type="datetime'''Br''''''''''''''''''''''''''''''''a''n''''''d'''''''' ''''D'">
              <a:rPr lang="en-US" altLang="en-US" sz="1000" smtClean="0"/>
              <a:pPr lvl="0">
                <a:spcBef>
                  <a:spcPct val="0"/>
                </a:spcBef>
                <a:spcAft>
                  <a:spcPct val="0"/>
                </a:spcAft>
              </a:pPr>
              <a:t>Brand D</a:t>
            </a:fld>
            <a:endParaRPr lang="en-US" sz="1000" noProof="0"/>
          </a:p>
        </p:txBody>
      </p:sp>
      <p:sp>
        <p:nvSpPr>
          <p:cNvPr id="145" name="Text Placeholder 2">
            <a:extLst>
              <a:ext uri="{FF2B5EF4-FFF2-40B4-BE49-F238E27FC236}">
                <a16:creationId xmlns:a16="http://schemas.microsoft.com/office/drawing/2014/main" id="{FD81866D-41B3-9FF7-5D43-42D027E69426}"/>
              </a:ext>
            </a:extLst>
          </p:cNvPr>
          <p:cNvSpPr>
            <a:spLocks noGrp="1"/>
          </p:cNvSpPr>
          <p:nvPr>
            <p:custDataLst>
              <p:tags r:id="rId28"/>
            </p:custDataLst>
          </p:nvPr>
        </p:nvSpPr>
        <p:spPr bwMode="auto">
          <a:xfrm>
            <a:off x="9526588" y="6251575"/>
            <a:ext cx="455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ct val="0"/>
              </a:spcBef>
              <a:spcAft>
                <a:spcPct val="0"/>
              </a:spcAft>
            </a:pPr>
            <a:r>
              <a:rPr lang="en-US" altLang="en-US" sz="1000"/>
              <a:t>Brand G</a:t>
            </a:r>
            <a:endParaRPr lang="en-US" altLang="en-US" sz="1000" noProof="0">
              <a:cs typeface="Arial"/>
            </a:endParaRPr>
          </a:p>
        </p:txBody>
      </p:sp>
    </p:spTree>
    <p:extLst>
      <p:ext uri="{BB962C8B-B14F-4D97-AF65-F5344CB8AC3E}">
        <p14:creationId xmlns:p14="http://schemas.microsoft.com/office/powerpoint/2010/main" val="1554780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36DC4-FA34-B663-FF31-5B9CD946859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C2DBC26-431F-D626-10FB-3F9FFB48E3F1}"/>
              </a:ext>
            </a:extLst>
          </p:cNvPr>
          <p:cNvGraphicFramePr>
            <a:graphicFrameLocks noChangeAspect="1"/>
          </p:cNvGraphicFramePr>
          <p:nvPr>
            <p:custDataLst>
              <p:tags r:id="rId1"/>
            </p:custDataLst>
            <p:extLst>
              <p:ext uri="{D42A27DB-BD31-4B8C-83A1-F6EECF244321}">
                <p14:modId xmlns:p14="http://schemas.microsoft.com/office/powerpoint/2010/main" val="340011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5C2DBC26-431F-D626-10FB-3F9FFB48E3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83A57ED-FD5A-0750-2532-B91BC8FA2C9B}"/>
              </a:ext>
            </a:extLst>
          </p:cNvPr>
          <p:cNvSpPr>
            <a:spLocks noGrp="1"/>
          </p:cNvSpPr>
          <p:nvPr>
            <p:ph type="title"/>
          </p:nvPr>
        </p:nvSpPr>
        <p:spPr>
          <a:xfrm>
            <a:off x="381000" y="381000"/>
            <a:ext cx="5334001" cy="1524000"/>
          </a:xfrm>
        </p:spPr>
        <p:txBody>
          <a:bodyPr vert="horz"/>
          <a:lstStyle/>
          <a:p>
            <a:r>
              <a:rPr lang="en-US"/>
              <a:t>Strategic Shifts for Brick-and-Mortar &amp; E-commerce</a:t>
            </a:r>
          </a:p>
        </p:txBody>
      </p:sp>
      <p:pic>
        <p:nvPicPr>
          <p:cNvPr id="12" name="Picture Placeholder 11" descr="Connecting lines and dots illustration">
            <a:extLst>
              <a:ext uri="{FF2B5EF4-FFF2-40B4-BE49-F238E27FC236}">
                <a16:creationId xmlns:a16="http://schemas.microsoft.com/office/drawing/2014/main" id="{BB893CEF-1646-AC61-3F4F-0F706D5B6196}"/>
              </a:ext>
            </a:extLst>
          </p:cNvPr>
          <p:cNvPicPr>
            <a:picLocks noGrp="1" noChangeAspect="1"/>
          </p:cNvPicPr>
          <p:nvPr>
            <p:ph type="pic" sz="quarter" idx="42"/>
          </p:nvPr>
        </p:nvPicPr>
        <p:blipFill>
          <a:blip r:embed="rId6" cstate="email">
            <a:extLst>
              <a:ext uri="{28A0092B-C50C-407E-A947-70E740481C1C}">
                <a14:useLocalDpi xmlns:a14="http://schemas.microsoft.com/office/drawing/2010/main"/>
              </a:ext>
            </a:extLst>
          </a:blip>
          <a:srcRect t="2945" b="2945"/>
          <a:stretch/>
        </p:blipFill>
        <p:spPr>
          <a:xfrm>
            <a:off x="5726131" y="0"/>
            <a:ext cx="6465869" cy="6856413"/>
          </a:xfrm>
        </p:spPr>
      </p:pic>
    </p:spTree>
    <p:extLst>
      <p:ext uri="{BB962C8B-B14F-4D97-AF65-F5344CB8AC3E}">
        <p14:creationId xmlns:p14="http://schemas.microsoft.com/office/powerpoint/2010/main" val="3034897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0B04D-C837-62E0-8B24-701044CE58C7}"/>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53A38DEB-67DB-5108-9130-7EF4394539DA}"/>
              </a:ext>
            </a:extLst>
          </p:cNvPr>
          <p:cNvSpPr/>
          <p:nvPr/>
        </p:nvSpPr>
        <p:spPr>
          <a:xfrm>
            <a:off x="7620000" y="3048000"/>
            <a:ext cx="4572000" cy="381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3" name="TextBox 22">
            <a:extLst>
              <a:ext uri="{FF2B5EF4-FFF2-40B4-BE49-F238E27FC236}">
                <a16:creationId xmlns:a16="http://schemas.microsoft.com/office/drawing/2014/main" id="{048E8E02-267D-2EA3-10CC-31A48060D2A1}"/>
              </a:ext>
            </a:extLst>
          </p:cNvPr>
          <p:cNvSpPr txBox="1"/>
          <p:nvPr/>
        </p:nvSpPr>
        <p:spPr>
          <a:xfrm>
            <a:off x="9525000" y="3804683"/>
            <a:ext cx="2899947" cy="7355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nSpc>
                <a:spcPct val="90000"/>
              </a:lnSpc>
              <a:spcBef>
                <a:spcPts val="600"/>
              </a:spcBef>
              <a:buClr>
                <a:srgbClr val="1E1E1E"/>
              </a:buClr>
              <a:buSzPct val="100000"/>
              <a:buFont typeface="Arial" panose="020B0604020202020204" pitchFamily="34" charset="0"/>
              <a:buChar char="–"/>
            </a:pPr>
            <a:r>
              <a:rPr lang="en-US" sz="1400">
                <a:cs typeface="Arial"/>
              </a:rPr>
              <a:t>Eye – level placements</a:t>
            </a:r>
          </a:p>
          <a:p>
            <a:pPr marL="203200" indent="-203200">
              <a:lnSpc>
                <a:spcPct val="90000"/>
              </a:lnSpc>
              <a:spcBef>
                <a:spcPts val="600"/>
              </a:spcBef>
              <a:buClr>
                <a:srgbClr val="1E1E1E"/>
              </a:buClr>
              <a:buSzPct val="100000"/>
              <a:buFont typeface="Arial" panose="020B0604020202020204" pitchFamily="34" charset="0"/>
              <a:buChar char="–"/>
            </a:pPr>
            <a:r>
              <a:rPr lang="en-US" sz="1400">
                <a:cs typeface="Arial"/>
              </a:rPr>
              <a:t>Performance based deals</a:t>
            </a:r>
          </a:p>
          <a:p>
            <a:pPr marL="203200" indent="-203200">
              <a:lnSpc>
                <a:spcPct val="90000"/>
              </a:lnSpc>
              <a:spcBef>
                <a:spcPts val="600"/>
              </a:spcBef>
              <a:buClr>
                <a:srgbClr val="1E1E1E"/>
              </a:buClr>
              <a:buSzPct val="100000"/>
              <a:buFont typeface="Arial" panose="020B0604020202020204" pitchFamily="34" charset="0"/>
              <a:buChar char="–"/>
            </a:pPr>
            <a:endParaRPr lang="en-US" sz="1400">
              <a:cs typeface="Arial"/>
            </a:endParaRPr>
          </a:p>
        </p:txBody>
      </p:sp>
      <p:graphicFrame>
        <p:nvGraphicFramePr>
          <p:cNvPr id="6" name="think-cell data - do not delete" hidden="1">
            <a:extLst>
              <a:ext uri="{FF2B5EF4-FFF2-40B4-BE49-F238E27FC236}">
                <a16:creationId xmlns:a16="http://schemas.microsoft.com/office/drawing/2014/main" id="{545ED114-6441-7ECA-9045-AA5E86E606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545ED114-6441-7ECA-9045-AA5E86E60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8D5E372-7B76-483B-78BA-D06F64D33C01}"/>
              </a:ext>
            </a:extLst>
          </p:cNvPr>
          <p:cNvSpPr/>
          <p:nvPr/>
        </p:nvSpPr>
        <p:spPr>
          <a:xfrm>
            <a:off x="3048000" y="0"/>
            <a:ext cx="9144665" cy="3048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9" name="Rectangle 8">
            <a:extLst>
              <a:ext uri="{FF2B5EF4-FFF2-40B4-BE49-F238E27FC236}">
                <a16:creationId xmlns:a16="http://schemas.microsoft.com/office/drawing/2014/main" id="{D47227C9-20EA-F834-D944-66662C2A0FE3}"/>
              </a:ext>
            </a:extLst>
          </p:cNvPr>
          <p:cNvSpPr/>
          <p:nvPr/>
        </p:nvSpPr>
        <p:spPr>
          <a:xfrm>
            <a:off x="3048000" y="3048000"/>
            <a:ext cx="4572000" cy="381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 name="Title 1">
            <a:extLst>
              <a:ext uri="{FF2B5EF4-FFF2-40B4-BE49-F238E27FC236}">
                <a16:creationId xmlns:a16="http://schemas.microsoft.com/office/drawing/2014/main" id="{C1A37186-2E7D-D885-AE4B-E9AC91C62D28}"/>
              </a:ext>
            </a:extLst>
          </p:cNvPr>
          <p:cNvSpPr>
            <a:spLocks noGrp="1"/>
          </p:cNvSpPr>
          <p:nvPr>
            <p:ph type="title"/>
          </p:nvPr>
        </p:nvSpPr>
        <p:spPr>
          <a:xfrm>
            <a:off x="381000" y="381000"/>
            <a:ext cx="2286000" cy="2215991"/>
          </a:xfrm>
        </p:spPr>
        <p:txBody>
          <a:bodyPr vert="horz"/>
          <a:lstStyle/>
          <a:p>
            <a:r>
              <a:rPr lang="en-US"/>
              <a:t>Strategies for </a:t>
            </a:r>
            <a:br>
              <a:rPr lang="en-US"/>
            </a:br>
            <a:r>
              <a:rPr lang="en-US"/>
              <a:t>Brick-and-Mortar:</a:t>
            </a:r>
            <a:br>
              <a:rPr lang="en-US"/>
            </a:br>
            <a:r>
              <a:rPr lang="en-US"/>
              <a:t>Boost sales by standing out through various retail execution levers</a:t>
            </a:r>
            <a:endParaRPr lang="zh-TW"/>
          </a:p>
        </p:txBody>
      </p:sp>
      <p:sp>
        <p:nvSpPr>
          <p:cNvPr id="20" name="TextBox 19">
            <a:extLst>
              <a:ext uri="{FF2B5EF4-FFF2-40B4-BE49-F238E27FC236}">
                <a16:creationId xmlns:a16="http://schemas.microsoft.com/office/drawing/2014/main" id="{7A11D521-CC3A-3544-7AE7-ED743D69DB25}"/>
              </a:ext>
            </a:extLst>
          </p:cNvPr>
          <p:cNvSpPr txBox="1"/>
          <p:nvPr/>
        </p:nvSpPr>
        <p:spPr>
          <a:xfrm>
            <a:off x="9532758" y="3218742"/>
            <a:ext cx="2125842" cy="4431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en-US" sz="1600" b="1">
                <a:solidFill>
                  <a:schemeClr val="tx2"/>
                </a:solidFill>
                <a:cs typeface="Arial"/>
              </a:rPr>
              <a:t>Negotiate Premium Shelf Space</a:t>
            </a:r>
          </a:p>
        </p:txBody>
      </p:sp>
      <p:sp>
        <p:nvSpPr>
          <p:cNvPr id="24" name="TextBox 23">
            <a:extLst>
              <a:ext uri="{FF2B5EF4-FFF2-40B4-BE49-F238E27FC236}">
                <a16:creationId xmlns:a16="http://schemas.microsoft.com/office/drawing/2014/main" id="{D13CEEEE-5BD9-B1E5-942F-7EBDE98FD796}"/>
              </a:ext>
            </a:extLst>
          </p:cNvPr>
          <p:cNvSpPr txBox="1"/>
          <p:nvPr/>
        </p:nvSpPr>
        <p:spPr>
          <a:xfrm>
            <a:off x="3439266" y="379200"/>
            <a:ext cx="3342533"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en-US" sz="1600" b="1">
                <a:solidFill>
                  <a:schemeClr val="tx2"/>
                </a:solidFill>
                <a:cs typeface="Arial"/>
              </a:rPr>
              <a:t>Bundling Promotions</a:t>
            </a:r>
            <a:endParaRPr lang="en-US">
              <a:solidFill>
                <a:schemeClr val="tx2"/>
              </a:solidFill>
              <a:cs typeface="Arial" panose="020B0604020202020204"/>
            </a:endParaRPr>
          </a:p>
        </p:txBody>
      </p:sp>
      <p:sp>
        <p:nvSpPr>
          <p:cNvPr id="25" name="TextBox 24">
            <a:extLst>
              <a:ext uri="{FF2B5EF4-FFF2-40B4-BE49-F238E27FC236}">
                <a16:creationId xmlns:a16="http://schemas.microsoft.com/office/drawing/2014/main" id="{0B82D839-D49C-CBE8-32F5-B1B3AB5E2C66}"/>
              </a:ext>
            </a:extLst>
          </p:cNvPr>
          <p:cNvSpPr txBox="1"/>
          <p:nvPr/>
        </p:nvSpPr>
        <p:spPr>
          <a:xfrm>
            <a:off x="3439266" y="779930"/>
            <a:ext cx="4374295" cy="52014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600">
                <a:ea typeface="+mn-lt"/>
                <a:cs typeface="+mn-lt"/>
              </a:rPr>
              <a:t>Retailer specific bundles</a:t>
            </a:r>
          </a:p>
          <a:p>
            <a:pPr marL="177800" indent="-177800">
              <a:lnSpc>
                <a:spcPct val="90000"/>
              </a:lnSpc>
              <a:spcBef>
                <a:spcPts val="600"/>
              </a:spcBef>
              <a:buClr>
                <a:srgbClr val="1E1E1E"/>
              </a:buClr>
              <a:buSzPct val="100000"/>
              <a:buFont typeface="Arial" panose="020B0604020202020204" pitchFamily="34" charset="0"/>
              <a:buChar char="–"/>
            </a:pPr>
            <a:r>
              <a:rPr lang="en-US" sz="1600">
                <a:ea typeface="+mn-lt"/>
                <a:cs typeface="+mn-lt"/>
              </a:rPr>
              <a:t>Cross-channel promotion Tie-Ins</a:t>
            </a:r>
            <a:endParaRPr lang="en-US" sz="1600">
              <a:cs typeface="Arial"/>
            </a:endParaRPr>
          </a:p>
        </p:txBody>
      </p:sp>
      <p:sp>
        <p:nvSpPr>
          <p:cNvPr id="29" name="TextBox 28">
            <a:extLst>
              <a:ext uri="{FF2B5EF4-FFF2-40B4-BE49-F238E27FC236}">
                <a16:creationId xmlns:a16="http://schemas.microsoft.com/office/drawing/2014/main" id="{A2135D3F-6932-774D-46BE-06C7F094453C}"/>
              </a:ext>
            </a:extLst>
          </p:cNvPr>
          <p:cNvSpPr txBox="1"/>
          <p:nvPr/>
        </p:nvSpPr>
        <p:spPr>
          <a:xfrm>
            <a:off x="3429000" y="3234440"/>
            <a:ext cx="2286000" cy="4431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en-US" sz="1600" b="1">
                <a:solidFill>
                  <a:schemeClr val="tx2"/>
                </a:solidFill>
              </a:rPr>
              <a:t>Private - Label Alternative Positioning</a:t>
            </a:r>
          </a:p>
        </p:txBody>
      </p:sp>
      <p:sp>
        <p:nvSpPr>
          <p:cNvPr id="30" name="TextBox 29">
            <a:extLst>
              <a:ext uri="{FF2B5EF4-FFF2-40B4-BE49-F238E27FC236}">
                <a16:creationId xmlns:a16="http://schemas.microsoft.com/office/drawing/2014/main" id="{B68EC1CC-A480-4EB1-295C-596A7E6AD015}"/>
              </a:ext>
            </a:extLst>
          </p:cNvPr>
          <p:cNvSpPr txBox="1"/>
          <p:nvPr/>
        </p:nvSpPr>
        <p:spPr>
          <a:xfrm>
            <a:off x="3433656" y="3802626"/>
            <a:ext cx="2332348" cy="9294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a:ea typeface="+mn-lt"/>
                <a:cs typeface="+mn-lt"/>
              </a:rPr>
              <a:t>“Premium vs. Basic” Messaging</a:t>
            </a:r>
          </a:p>
          <a:p>
            <a:pPr marL="177800" indent="-177800">
              <a:lnSpc>
                <a:spcPct val="90000"/>
              </a:lnSpc>
              <a:spcBef>
                <a:spcPts val="600"/>
              </a:spcBef>
              <a:buClr>
                <a:srgbClr val="1E1E1E"/>
              </a:buClr>
              <a:buSzPct val="100000"/>
              <a:buFont typeface="Arial" panose="020B0604020202020204" pitchFamily="34" charset="0"/>
              <a:buChar char="–"/>
            </a:pPr>
            <a:r>
              <a:rPr lang="en-US" sz="1400">
                <a:ea typeface="+mn-lt"/>
                <a:cs typeface="+mn-lt"/>
              </a:rPr>
              <a:t>Value-Added Packaging</a:t>
            </a:r>
          </a:p>
          <a:p>
            <a:pPr marL="177800" indent="-177800">
              <a:lnSpc>
                <a:spcPct val="90000"/>
              </a:lnSpc>
              <a:spcBef>
                <a:spcPts val="600"/>
              </a:spcBef>
              <a:buClr>
                <a:srgbClr val="1E1E1E"/>
              </a:buClr>
              <a:buSzPct val="100000"/>
              <a:buFont typeface="Arial" panose="020B0604020202020204" pitchFamily="34" charset="0"/>
              <a:buChar char="–"/>
            </a:pPr>
            <a:r>
              <a:rPr lang="en-US" sz="1400">
                <a:ea typeface="+mn-lt"/>
                <a:cs typeface="+mn-lt"/>
              </a:rPr>
              <a:t>Tailored Retailer Support</a:t>
            </a:r>
            <a:endParaRPr lang="en-US">
              <a:ea typeface="+mn-lt"/>
              <a:cs typeface="+mn-lt"/>
            </a:endParaRPr>
          </a:p>
        </p:txBody>
      </p:sp>
      <p:pic>
        <p:nvPicPr>
          <p:cNvPr id="42" name="Graphic 41" descr="Confused person with solid fill">
            <a:extLst>
              <a:ext uri="{FF2B5EF4-FFF2-40B4-BE49-F238E27FC236}">
                <a16:creationId xmlns:a16="http://schemas.microsoft.com/office/drawing/2014/main" id="{56F73EA3-FD56-9491-3BD1-50F38B2BA4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62219" y="4701331"/>
            <a:ext cx="1697546" cy="1697546"/>
          </a:xfrm>
          <a:prstGeom prst="rect">
            <a:avLst/>
          </a:prstGeom>
        </p:spPr>
      </p:pic>
      <p:sp>
        <p:nvSpPr>
          <p:cNvPr id="43" name="Right Bracket 42">
            <a:extLst>
              <a:ext uri="{FF2B5EF4-FFF2-40B4-BE49-F238E27FC236}">
                <a16:creationId xmlns:a16="http://schemas.microsoft.com/office/drawing/2014/main" id="{192367F6-F70B-E094-9D7F-5CD9D6B52FBC}"/>
              </a:ext>
            </a:extLst>
          </p:cNvPr>
          <p:cNvSpPr/>
          <p:nvPr/>
        </p:nvSpPr>
        <p:spPr>
          <a:xfrm>
            <a:off x="11235965" y="4598804"/>
            <a:ext cx="575035" cy="1800128"/>
          </a:xfrm>
          <a:prstGeom prst="rightBracket">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5" name="Straight Connector 44">
            <a:extLst>
              <a:ext uri="{FF2B5EF4-FFF2-40B4-BE49-F238E27FC236}">
                <a16:creationId xmlns:a16="http://schemas.microsoft.com/office/drawing/2014/main" id="{9739848B-1B42-C52E-79CE-55D89BF76724}"/>
              </a:ext>
            </a:extLst>
          </p:cNvPr>
          <p:cNvCxnSpPr/>
          <p:nvPr/>
        </p:nvCxnSpPr>
        <p:spPr>
          <a:xfrm>
            <a:off x="11235965" y="4979804"/>
            <a:ext cx="575035" cy="0"/>
          </a:xfrm>
          <a:prstGeom prst="line">
            <a:avLst/>
          </a:prstGeom>
          <a:ln w="28575">
            <a:solidFill>
              <a:schemeClr val="accent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612006-C7BF-C566-BA49-3D2B5BC1F6D6}"/>
              </a:ext>
            </a:extLst>
          </p:cNvPr>
          <p:cNvCxnSpPr/>
          <p:nvPr/>
        </p:nvCxnSpPr>
        <p:spPr>
          <a:xfrm>
            <a:off x="11235965" y="5366303"/>
            <a:ext cx="575035" cy="0"/>
          </a:xfrm>
          <a:prstGeom prst="line">
            <a:avLst/>
          </a:prstGeom>
          <a:ln w="28575">
            <a:solidFill>
              <a:schemeClr val="accent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C17ED70-AC97-9025-F761-0712669F1F6F}"/>
              </a:ext>
            </a:extLst>
          </p:cNvPr>
          <p:cNvCxnSpPr/>
          <p:nvPr/>
        </p:nvCxnSpPr>
        <p:spPr>
          <a:xfrm>
            <a:off x="11235965" y="5762229"/>
            <a:ext cx="575035" cy="0"/>
          </a:xfrm>
          <a:prstGeom prst="line">
            <a:avLst/>
          </a:prstGeom>
          <a:ln w="28575">
            <a:solidFill>
              <a:schemeClr val="accent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98A237-A5A3-4ED1-375B-D1E9ED5FDAFC}"/>
              </a:ext>
            </a:extLst>
          </p:cNvPr>
          <p:cNvCxnSpPr>
            <a:cxnSpLocks/>
          </p:cNvCxnSpPr>
          <p:nvPr/>
        </p:nvCxnSpPr>
        <p:spPr>
          <a:xfrm>
            <a:off x="10162650" y="5758986"/>
            <a:ext cx="1648350"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66EF9E4E-C739-9480-B43C-80E37AC704C4}"/>
              </a:ext>
            </a:extLst>
          </p:cNvPr>
          <p:cNvSpPr txBox="1"/>
          <p:nvPr/>
        </p:nvSpPr>
        <p:spPr>
          <a:xfrm>
            <a:off x="10246031" y="5071992"/>
            <a:ext cx="548227" cy="290849"/>
          </a:xfrm>
          <a:prstGeom prst="rect">
            <a:avLst/>
          </a:prstGeom>
          <a:noFill/>
        </p:spPr>
        <p:txBody>
          <a:bodyPr wrap="none" lIns="0" tIns="0" rIns="0" bIns="0" rtlCol="0">
            <a:spAutoFit/>
          </a:bodyPr>
          <a:lstStyle/>
          <a:p>
            <a:pPr algn="l">
              <a:lnSpc>
                <a:spcPct val="90000"/>
              </a:lnSpc>
            </a:pPr>
            <a:r>
              <a:rPr lang="en-US" sz="1050"/>
              <a:t>Eye level</a:t>
            </a:r>
          </a:p>
          <a:p>
            <a:pPr algn="l">
              <a:lnSpc>
                <a:spcPct val="90000"/>
              </a:lnSpc>
            </a:pPr>
            <a:r>
              <a:rPr lang="en-US" sz="1050"/>
              <a:t>4 – 5 ft</a:t>
            </a:r>
          </a:p>
        </p:txBody>
      </p:sp>
      <p:cxnSp>
        <p:nvCxnSpPr>
          <p:cNvPr id="62" name="Straight Connector 61">
            <a:extLst>
              <a:ext uri="{FF2B5EF4-FFF2-40B4-BE49-F238E27FC236}">
                <a16:creationId xmlns:a16="http://schemas.microsoft.com/office/drawing/2014/main" id="{BAC0AAE1-6F96-0CC8-F556-2ED76896897C}"/>
              </a:ext>
            </a:extLst>
          </p:cNvPr>
          <p:cNvCxnSpPr>
            <a:cxnSpLocks/>
          </p:cNvCxnSpPr>
          <p:nvPr/>
        </p:nvCxnSpPr>
        <p:spPr>
          <a:xfrm>
            <a:off x="10162650" y="5362625"/>
            <a:ext cx="1648350"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0B6FB07-DA4D-4BD2-4926-9A331B2EDE0A}"/>
              </a:ext>
            </a:extLst>
          </p:cNvPr>
          <p:cNvCxnSpPr>
            <a:cxnSpLocks/>
          </p:cNvCxnSpPr>
          <p:nvPr/>
        </p:nvCxnSpPr>
        <p:spPr>
          <a:xfrm>
            <a:off x="10162650" y="4979754"/>
            <a:ext cx="1648350"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79745523-EADD-2994-1D21-16BA2359FF65}"/>
              </a:ext>
            </a:extLst>
          </p:cNvPr>
          <p:cNvSpPr txBox="1"/>
          <p:nvPr/>
        </p:nvSpPr>
        <p:spPr>
          <a:xfrm>
            <a:off x="10246031" y="4648129"/>
            <a:ext cx="742191" cy="290849"/>
          </a:xfrm>
          <a:prstGeom prst="rect">
            <a:avLst/>
          </a:prstGeom>
          <a:noFill/>
        </p:spPr>
        <p:txBody>
          <a:bodyPr wrap="none" lIns="0" tIns="0" rIns="0" bIns="0" rtlCol="0">
            <a:spAutoFit/>
          </a:bodyPr>
          <a:lstStyle/>
          <a:p>
            <a:pPr algn="l">
              <a:lnSpc>
                <a:spcPct val="90000"/>
              </a:lnSpc>
            </a:pPr>
            <a:r>
              <a:rPr lang="en-US" sz="1050"/>
              <a:t>Stretch level</a:t>
            </a:r>
          </a:p>
          <a:p>
            <a:pPr algn="l">
              <a:lnSpc>
                <a:spcPct val="90000"/>
              </a:lnSpc>
            </a:pPr>
            <a:r>
              <a:rPr lang="en-US" sz="1050"/>
              <a:t> &gt; 6 ft</a:t>
            </a:r>
          </a:p>
        </p:txBody>
      </p:sp>
      <p:sp>
        <p:nvSpPr>
          <p:cNvPr id="65" name="TextBox 64">
            <a:extLst>
              <a:ext uri="{FF2B5EF4-FFF2-40B4-BE49-F238E27FC236}">
                <a16:creationId xmlns:a16="http://schemas.microsoft.com/office/drawing/2014/main" id="{D57B3C2E-C2F0-9C89-2A7B-5F3C1B050FEC}"/>
              </a:ext>
            </a:extLst>
          </p:cNvPr>
          <p:cNvSpPr txBox="1"/>
          <p:nvPr/>
        </p:nvSpPr>
        <p:spPr>
          <a:xfrm>
            <a:off x="10246031" y="5467279"/>
            <a:ext cx="690895" cy="290849"/>
          </a:xfrm>
          <a:prstGeom prst="rect">
            <a:avLst/>
          </a:prstGeom>
          <a:noFill/>
        </p:spPr>
        <p:txBody>
          <a:bodyPr wrap="none" lIns="0" tIns="0" rIns="0" bIns="0" rtlCol="0">
            <a:spAutoFit/>
          </a:bodyPr>
          <a:lstStyle/>
          <a:p>
            <a:pPr algn="l">
              <a:lnSpc>
                <a:spcPct val="90000"/>
              </a:lnSpc>
            </a:pPr>
            <a:r>
              <a:rPr lang="en-US" sz="1050"/>
              <a:t>Touch level</a:t>
            </a:r>
          </a:p>
          <a:p>
            <a:pPr algn="l">
              <a:lnSpc>
                <a:spcPct val="90000"/>
              </a:lnSpc>
            </a:pPr>
            <a:r>
              <a:rPr lang="en-US" sz="1050"/>
              <a:t>3 – 4 ft</a:t>
            </a:r>
          </a:p>
        </p:txBody>
      </p:sp>
      <p:sp>
        <p:nvSpPr>
          <p:cNvPr id="66" name="TextBox 65">
            <a:extLst>
              <a:ext uri="{FF2B5EF4-FFF2-40B4-BE49-F238E27FC236}">
                <a16:creationId xmlns:a16="http://schemas.microsoft.com/office/drawing/2014/main" id="{C516621E-061C-4F3A-87CE-DF1AEE9634B4}"/>
              </a:ext>
            </a:extLst>
          </p:cNvPr>
          <p:cNvSpPr txBox="1"/>
          <p:nvPr/>
        </p:nvSpPr>
        <p:spPr>
          <a:xfrm>
            <a:off x="10246031" y="5910191"/>
            <a:ext cx="668453" cy="290849"/>
          </a:xfrm>
          <a:prstGeom prst="rect">
            <a:avLst/>
          </a:prstGeom>
          <a:noFill/>
        </p:spPr>
        <p:txBody>
          <a:bodyPr wrap="none" lIns="0" tIns="0" rIns="0" bIns="0" rtlCol="0">
            <a:spAutoFit/>
          </a:bodyPr>
          <a:lstStyle/>
          <a:p>
            <a:pPr algn="l">
              <a:lnSpc>
                <a:spcPct val="90000"/>
              </a:lnSpc>
            </a:pPr>
            <a:r>
              <a:rPr lang="en-US" sz="1050"/>
              <a:t>Stoop level</a:t>
            </a:r>
          </a:p>
          <a:p>
            <a:pPr algn="l">
              <a:lnSpc>
                <a:spcPct val="90000"/>
              </a:lnSpc>
            </a:pPr>
            <a:r>
              <a:rPr lang="en-US" sz="1050"/>
              <a:t>&lt; 3 ft</a:t>
            </a:r>
          </a:p>
        </p:txBody>
      </p:sp>
      <p:pic>
        <p:nvPicPr>
          <p:cNvPr id="1026" name="Picture 2" descr="AMC Theatres popcorn and drink collectibles that will nuke your hunger and  thirst : r/OppenheimerMovie">
            <a:extLst>
              <a:ext uri="{FF2B5EF4-FFF2-40B4-BE49-F238E27FC236}">
                <a16:creationId xmlns:a16="http://schemas.microsoft.com/office/drawing/2014/main" id="{12EF3986-AEDE-FA4C-0E07-45D14E3C227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6000" y="431391"/>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68BF526-64FE-3BD0-F16F-E508D4232382}"/>
              </a:ext>
            </a:extLst>
          </p:cNvPr>
          <p:cNvSpPr txBox="1"/>
          <p:nvPr/>
        </p:nvSpPr>
        <p:spPr>
          <a:xfrm>
            <a:off x="3429000" y="6096000"/>
            <a:ext cx="8378825" cy="381000"/>
          </a:xfrm>
          <a:prstGeom prst="rect">
            <a:avLst/>
          </a:prstGeom>
          <a:noFill/>
        </p:spPr>
        <p:txBody>
          <a:bodyPr wrap="square" lIns="0" tIns="0" rIns="0" bIns="0" rtlCol="0" anchor="b" anchorCtr="0">
            <a:noAutofit/>
          </a:bodyPr>
          <a:lstStyle/>
          <a:p>
            <a:pPr>
              <a:lnSpc>
                <a:spcPct val="90000"/>
              </a:lnSpc>
            </a:pPr>
            <a:r>
              <a:rPr lang="en-US" sz="700"/>
              <a:t>Source : Market Research</a:t>
            </a:r>
          </a:p>
        </p:txBody>
      </p:sp>
      <p:grpSp>
        <p:nvGrpSpPr>
          <p:cNvPr id="58" name="Group 57">
            <a:extLst>
              <a:ext uri="{FF2B5EF4-FFF2-40B4-BE49-F238E27FC236}">
                <a16:creationId xmlns:a16="http://schemas.microsoft.com/office/drawing/2014/main" id="{C384E9A5-2340-40E0-3DF8-BF86DE332A91}"/>
              </a:ext>
            </a:extLst>
          </p:cNvPr>
          <p:cNvGrpSpPr/>
          <p:nvPr/>
        </p:nvGrpSpPr>
        <p:grpSpPr>
          <a:xfrm>
            <a:off x="5622745" y="1288026"/>
            <a:ext cx="3759200" cy="3757612"/>
            <a:chOff x="5334000" y="1524000"/>
            <a:chExt cx="3759200" cy="3757612"/>
          </a:xfrm>
        </p:grpSpPr>
        <p:sp>
          <p:nvSpPr>
            <p:cNvPr id="16" name="Freeform 5">
              <a:extLst>
                <a:ext uri="{FF2B5EF4-FFF2-40B4-BE49-F238E27FC236}">
                  <a16:creationId xmlns:a16="http://schemas.microsoft.com/office/drawing/2014/main" id="{0CCF2FB2-21BB-3182-89F5-083B4AF1140B}"/>
                </a:ext>
              </a:extLst>
            </p:cNvPr>
            <p:cNvSpPr>
              <a:spLocks/>
            </p:cNvSpPr>
            <p:nvPr/>
          </p:nvSpPr>
          <p:spPr bwMode="auto">
            <a:xfrm flipV="1">
              <a:off x="7339012" y="2649537"/>
              <a:ext cx="1754188" cy="2632075"/>
            </a:xfrm>
            <a:custGeom>
              <a:avLst/>
              <a:gdLst>
                <a:gd name="T0" fmla="*/ 0 w 4693"/>
                <a:gd name="T1" fmla="*/ 0 h 7040"/>
                <a:gd name="T2" fmla="*/ 4693 w 4693"/>
                <a:gd name="T3" fmla="*/ 4694 h 7040"/>
                <a:gd name="T4" fmla="*/ 4064 w 4693"/>
                <a:gd name="T5" fmla="*/ 7040 h 7040"/>
                <a:gd name="T6" fmla="*/ 2032 w 4693"/>
                <a:gd name="T7" fmla="*/ 5867 h 7040"/>
                <a:gd name="T8" fmla="*/ 1173 w 4693"/>
                <a:gd name="T9" fmla="*/ 2662 h 7040"/>
                <a:gd name="T10" fmla="*/ 0 w 4693"/>
                <a:gd name="T11" fmla="*/ 2347 h 7040"/>
                <a:gd name="T12" fmla="*/ 0 w 4693"/>
                <a:gd name="T13" fmla="*/ 0 h 7040"/>
              </a:gdLst>
              <a:ahLst/>
              <a:cxnLst>
                <a:cxn ang="0">
                  <a:pos x="T0" y="T1"/>
                </a:cxn>
                <a:cxn ang="0">
                  <a:pos x="T2" y="T3"/>
                </a:cxn>
                <a:cxn ang="0">
                  <a:pos x="T4" y="T5"/>
                </a:cxn>
                <a:cxn ang="0">
                  <a:pos x="T6" y="T7"/>
                </a:cxn>
                <a:cxn ang="0">
                  <a:pos x="T8" y="T9"/>
                </a:cxn>
                <a:cxn ang="0">
                  <a:pos x="T10" y="T11"/>
                </a:cxn>
                <a:cxn ang="0">
                  <a:pos x="T12" y="T13"/>
                </a:cxn>
              </a:cxnLst>
              <a:rect l="0" t="0" r="r" b="b"/>
              <a:pathLst>
                <a:path w="4693" h="7040">
                  <a:moveTo>
                    <a:pt x="0" y="0"/>
                  </a:moveTo>
                  <a:cubicBezTo>
                    <a:pt x="2592" y="0"/>
                    <a:pt x="4693" y="2102"/>
                    <a:pt x="4693" y="4694"/>
                  </a:cubicBezTo>
                  <a:cubicBezTo>
                    <a:pt x="4693" y="5518"/>
                    <a:pt x="4476" y="6327"/>
                    <a:pt x="4064" y="7040"/>
                  </a:cubicBezTo>
                  <a:lnTo>
                    <a:pt x="2032" y="5867"/>
                  </a:lnTo>
                  <a:cubicBezTo>
                    <a:pt x="2680" y="4745"/>
                    <a:pt x="2296" y="3310"/>
                    <a:pt x="1173" y="2662"/>
                  </a:cubicBezTo>
                  <a:cubicBezTo>
                    <a:pt x="816" y="2456"/>
                    <a:pt x="412" y="2347"/>
                    <a:pt x="0" y="2347"/>
                  </a:cubicBezTo>
                  <a:lnTo>
                    <a:pt x="0" y="0"/>
                  </a:lnTo>
                  <a:close/>
                </a:path>
              </a:pathLst>
            </a:custGeom>
            <a:solidFill>
              <a:schemeClr val="accent6"/>
            </a:solidFill>
            <a:ln w="381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8">
              <a:extLst>
                <a:ext uri="{FF2B5EF4-FFF2-40B4-BE49-F238E27FC236}">
                  <a16:creationId xmlns:a16="http://schemas.microsoft.com/office/drawing/2014/main" id="{9ED51DA0-B0CB-BE28-4107-21E40003AADD}"/>
                </a:ext>
              </a:extLst>
            </p:cNvPr>
            <p:cNvSpPr>
              <a:spLocks/>
            </p:cNvSpPr>
            <p:nvPr/>
          </p:nvSpPr>
          <p:spPr bwMode="auto">
            <a:xfrm flipV="1">
              <a:off x="5818187" y="1524000"/>
              <a:ext cx="3040063" cy="1565275"/>
            </a:xfrm>
            <a:custGeom>
              <a:avLst/>
              <a:gdLst>
                <a:gd name="T0" fmla="*/ 8129 w 8129"/>
                <a:gd name="T1" fmla="*/ 1173 h 4187"/>
                <a:gd name="T2" fmla="*/ 1718 w 8129"/>
                <a:gd name="T3" fmla="*/ 2891 h 4187"/>
                <a:gd name="T4" fmla="*/ 0 w 8129"/>
                <a:gd name="T5" fmla="*/ 1173 h 4187"/>
                <a:gd name="T6" fmla="*/ 2033 w 8129"/>
                <a:gd name="T7" fmla="*/ 0 h 4187"/>
                <a:gd name="T8" fmla="*/ 5238 w 8129"/>
                <a:gd name="T9" fmla="*/ 859 h 4187"/>
                <a:gd name="T10" fmla="*/ 6097 w 8129"/>
                <a:gd name="T11" fmla="*/ 0 h 4187"/>
                <a:gd name="T12" fmla="*/ 8129 w 8129"/>
                <a:gd name="T13" fmla="*/ 1173 h 4187"/>
              </a:gdLst>
              <a:ahLst/>
              <a:cxnLst>
                <a:cxn ang="0">
                  <a:pos x="T0" y="T1"/>
                </a:cxn>
                <a:cxn ang="0">
                  <a:pos x="T2" y="T3"/>
                </a:cxn>
                <a:cxn ang="0">
                  <a:pos x="T4" y="T5"/>
                </a:cxn>
                <a:cxn ang="0">
                  <a:pos x="T6" y="T7"/>
                </a:cxn>
                <a:cxn ang="0">
                  <a:pos x="T8" y="T9"/>
                </a:cxn>
                <a:cxn ang="0">
                  <a:pos x="T10" y="T11"/>
                </a:cxn>
                <a:cxn ang="0">
                  <a:pos x="T12" y="T13"/>
                </a:cxn>
              </a:cxnLst>
              <a:rect l="0" t="0" r="r" b="b"/>
              <a:pathLst>
                <a:path w="8129" h="4187">
                  <a:moveTo>
                    <a:pt x="8129" y="1173"/>
                  </a:moveTo>
                  <a:cubicBezTo>
                    <a:pt x="6833" y="3418"/>
                    <a:pt x="3963" y="4187"/>
                    <a:pt x="1718" y="2891"/>
                  </a:cubicBezTo>
                  <a:cubicBezTo>
                    <a:pt x="1005" y="2479"/>
                    <a:pt x="412" y="1887"/>
                    <a:pt x="0" y="1173"/>
                  </a:cubicBezTo>
                  <a:lnTo>
                    <a:pt x="2033" y="0"/>
                  </a:lnTo>
                  <a:cubicBezTo>
                    <a:pt x="2681" y="1123"/>
                    <a:pt x="4116" y="1507"/>
                    <a:pt x="5238" y="859"/>
                  </a:cubicBezTo>
                  <a:cubicBezTo>
                    <a:pt x="5595" y="653"/>
                    <a:pt x="5891" y="357"/>
                    <a:pt x="6097" y="0"/>
                  </a:cubicBezTo>
                  <a:lnTo>
                    <a:pt x="8129" y="1173"/>
                  </a:lnTo>
                  <a:close/>
                </a:path>
              </a:pathLst>
            </a:custGeom>
            <a:solidFill>
              <a:schemeClr val="tx2"/>
            </a:solidFill>
            <a:ln w="381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10">
              <a:extLst>
                <a:ext uri="{FF2B5EF4-FFF2-40B4-BE49-F238E27FC236}">
                  <a16:creationId xmlns:a16="http://schemas.microsoft.com/office/drawing/2014/main" id="{CE67C400-4CED-6FAB-81D8-AB4752CC96D6}"/>
                </a:ext>
              </a:extLst>
            </p:cNvPr>
            <p:cNvSpPr>
              <a:spLocks/>
            </p:cNvSpPr>
            <p:nvPr/>
          </p:nvSpPr>
          <p:spPr bwMode="auto">
            <a:xfrm flipV="1">
              <a:off x="5334000" y="2649537"/>
              <a:ext cx="2005013" cy="2632075"/>
            </a:xfrm>
            <a:custGeom>
              <a:avLst/>
              <a:gdLst>
                <a:gd name="T0" fmla="*/ 1296 w 5361"/>
                <a:gd name="T1" fmla="*/ 7040 h 7040"/>
                <a:gd name="T2" fmla="*/ 3014 w 5361"/>
                <a:gd name="T3" fmla="*/ 629 h 7040"/>
                <a:gd name="T4" fmla="*/ 5361 w 5361"/>
                <a:gd name="T5" fmla="*/ 0 h 7040"/>
                <a:gd name="T6" fmla="*/ 5361 w 5361"/>
                <a:gd name="T7" fmla="*/ 2347 h 7040"/>
                <a:gd name="T8" fmla="*/ 3014 w 5361"/>
                <a:gd name="T9" fmla="*/ 4694 h 7040"/>
                <a:gd name="T10" fmla="*/ 3329 w 5361"/>
                <a:gd name="T11" fmla="*/ 5867 h 7040"/>
                <a:gd name="T12" fmla="*/ 1296 w 5361"/>
                <a:gd name="T13" fmla="*/ 7040 h 7040"/>
              </a:gdLst>
              <a:ahLst/>
              <a:cxnLst>
                <a:cxn ang="0">
                  <a:pos x="T0" y="T1"/>
                </a:cxn>
                <a:cxn ang="0">
                  <a:pos x="T2" y="T3"/>
                </a:cxn>
                <a:cxn ang="0">
                  <a:pos x="T4" y="T5"/>
                </a:cxn>
                <a:cxn ang="0">
                  <a:pos x="T6" y="T7"/>
                </a:cxn>
                <a:cxn ang="0">
                  <a:pos x="T8" y="T9"/>
                </a:cxn>
                <a:cxn ang="0">
                  <a:pos x="T10" y="T11"/>
                </a:cxn>
                <a:cxn ang="0">
                  <a:pos x="T12" y="T13"/>
                </a:cxn>
              </a:cxnLst>
              <a:rect l="0" t="0" r="r" b="b"/>
              <a:pathLst>
                <a:path w="5361" h="7040">
                  <a:moveTo>
                    <a:pt x="1296" y="7040"/>
                  </a:moveTo>
                  <a:cubicBezTo>
                    <a:pt x="0" y="4796"/>
                    <a:pt x="769" y="1925"/>
                    <a:pt x="3014" y="629"/>
                  </a:cubicBezTo>
                  <a:cubicBezTo>
                    <a:pt x="3728" y="217"/>
                    <a:pt x="4537" y="0"/>
                    <a:pt x="5361" y="0"/>
                  </a:cubicBezTo>
                  <a:lnTo>
                    <a:pt x="5361" y="2347"/>
                  </a:lnTo>
                  <a:cubicBezTo>
                    <a:pt x="4065" y="2347"/>
                    <a:pt x="3014" y="3398"/>
                    <a:pt x="3014" y="4694"/>
                  </a:cubicBezTo>
                  <a:cubicBezTo>
                    <a:pt x="3014" y="5106"/>
                    <a:pt x="3123" y="5510"/>
                    <a:pt x="3329" y="5867"/>
                  </a:cubicBezTo>
                  <a:lnTo>
                    <a:pt x="1296" y="7040"/>
                  </a:lnTo>
                  <a:close/>
                </a:path>
              </a:pathLst>
            </a:custGeom>
            <a:solidFill>
              <a:schemeClr val="accent5"/>
            </a:solidFill>
            <a:ln w="381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文字方塊 70">
              <a:extLst>
                <a:ext uri="{FF2B5EF4-FFF2-40B4-BE49-F238E27FC236}">
                  <a16:creationId xmlns:a16="http://schemas.microsoft.com/office/drawing/2014/main" id="{A9AE5781-292B-317F-3A0C-0CB4C057C6C5}"/>
                </a:ext>
              </a:extLst>
            </p:cNvPr>
            <p:cNvSpPr txBox="1"/>
            <p:nvPr/>
          </p:nvSpPr>
          <p:spPr>
            <a:xfrm>
              <a:off x="7160342" y="1905000"/>
              <a:ext cx="364475" cy="609398"/>
            </a:xfrm>
            <a:prstGeom prst="rect">
              <a:avLst/>
            </a:prstGeom>
            <a:noFill/>
          </p:spPr>
          <p:txBody>
            <a:bodyPr wrap="square" lIns="0" tIns="0" rIns="0" bIns="0" rtlCol="0">
              <a:spAutoFit/>
            </a:bodyPr>
            <a:lstStyle/>
            <a:p>
              <a:pPr algn="l">
                <a:lnSpc>
                  <a:spcPct val="90000"/>
                </a:lnSpc>
              </a:pPr>
              <a:r>
                <a:rPr kumimoji="1" lang="en-US" altLang="zh-TW" sz="4400" b="1">
                  <a:solidFill>
                    <a:schemeClr val="bg1"/>
                  </a:solidFill>
                </a:rPr>
                <a:t>1</a:t>
              </a:r>
              <a:endParaRPr kumimoji="1" lang="zh-TW" altLang="en-US" sz="4400" b="1">
                <a:solidFill>
                  <a:schemeClr val="bg1"/>
                </a:solidFill>
              </a:endParaRPr>
            </a:p>
          </p:txBody>
        </p:sp>
        <p:sp>
          <p:nvSpPr>
            <p:cNvPr id="54" name="文字方塊 70">
              <a:extLst>
                <a:ext uri="{FF2B5EF4-FFF2-40B4-BE49-F238E27FC236}">
                  <a16:creationId xmlns:a16="http://schemas.microsoft.com/office/drawing/2014/main" id="{0B1F96C7-FBB2-DF52-2491-E2B9E3399BD4}"/>
                </a:ext>
              </a:extLst>
            </p:cNvPr>
            <p:cNvSpPr txBox="1"/>
            <p:nvPr/>
          </p:nvSpPr>
          <p:spPr>
            <a:xfrm>
              <a:off x="8293510" y="3765755"/>
              <a:ext cx="364475" cy="609398"/>
            </a:xfrm>
            <a:prstGeom prst="rect">
              <a:avLst/>
            </a:prstGeom>
            <a:noFill/>
          </p:spPr>
          <p:txBody>
            <a:bodyPr wrap="square" lIns="0" tIns="0" rIns="0" bIns="0" rtlCol="0">
              <a:spAutoFit/>
            </a:bodyPr>
            <a:lstStyle/>
            <a:p>
              <a:pPr algn="l">
                <a:lnSpc>
                  <a:spcPct val="90000"/>
                </a:lnSpc>
              </a:pPr>
              <a:r>
                <a:rPr kumimoji="1" lang="en-US" altLang="zh-TW" sz="4400" b="1">
                  <a:solidFill>
                    <a:schemeClr val="bg1"/>
                  </a:solidFill>
                </a:rPr>
                <a:t>2</a:t>
              </a:r>
              <a:endParaRPr kumimoji="1" lang="zh-TW" altLang="en-US" sz="4400" b="1">
                <a:solidFill>
                  <a:schemeClr val="bg1"/>
                </a:solidFill>
              </a:endParaRPr>
            </a:p>
          </p:txBody>
        </p:sp>
        <p:sp>
          <p:nvSpPr>
            <p:cNvPr id="55" name="文字方塊 70">
              <a:extLst>
                <a:ext uri="{FF2B5EF4-FFF2-40B4-BE49-F238E27FC236}">
                  <a16:creationId xmlns:a16="http://schemas.microsoft.com/office/drawing/2014/main" id="{2C229200-C6DE-516A-C386-347F64DED2E7}"/>
                </a:ext>
              </a:extLst>
            </p:cNvPr>
            <p:cNvSpPr txBox="1"/>
            <p:nvPr/>
          </p:nvSpPr>
          <p:spPr>
            <a:xfrm>
              <a:off x="6012426" y="3765755"/>
              <a:ext cx="364475" cy="609398"/>
            </a:xfrm>
            <a:prstGeom prst="rect">
              <a:avLst/>
            </a:prstGeom>
            <a:noFill/>
          </p:spPr>
          <p:txBody>
            <a:bodyPr wrap="square" lIns="0" tIns="0" rIns="0" bIns="0" rtlCol="0">
              <a:spAutoFit/>
            </a:bodyPr>
            <a:lstStyle/>
            <a:p>
              <a:pPr algn="l">
                <a:lnSpc>
                  <a:spcPct val="90000"/>
                </a:lnSpc>
              </a:pPr>
              <a:r>
                <a:rPr kumimoji="1" lang="en-US" altLang="zh-TW" sz="4400" b="1">
                  <a:solidFill>
                    <a:schemeClr val="bg1"/>
                  </a:solidFill>
                </a:rPr>
                <a:t>3</a:t>
              </a:r>
              <a:endParaRPr kumimoji="1" lang="zh-TW" altLang="en-US" sz="4400" b="1">
                <a:solidFill>
                  <a:schemeClr val="bg1"/>
                </a:solidFill>
              </a:endParaRPr>
            </a:p>
          </p:txBody>
        </p:sp>
      </p:grpSp>
      <p:pic>
        <p:nvPicPr>
          <p:cNvPr id="59" name="Graphic 58">
            <a:extLst>
              <a:ext uri="{FF2B5EF4-FFF2-40B4-BE49-F238E27FC236}">
                <a16:creationId xmlns:a16="http://schemas.microsoft.com/office/drawing/2014/main" id="{9E2AC2C2-5D80-286F-E714-297172D1037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813560" y="5270500"/>
            <a:ext cx="956187" cy="956187"/>
          </a:xfrm>
          <a:prstGeom prst="rect">
            <a:avLst/>
          </a:prstGeom>
        </p:spPr>
      </p:pic>
      <p:pic>
        <p:nvPicPr>
          <p:cNvPr id="60" name="Graphic 59">
            <a:extLst>
              <a:ext uri="{FF2B5EF4-FFF2-40B4-BE49-F238E27FC236}">
                <a16:creationId xmlns:a16="http://schemas.microsoft.com/office/drawing/2014/main" id="{0A716BB2-8B03-6BA0-BA1F-7CA57DBAA67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29000" y="5275010"/>
            <a:ext cx="956187" cy="956187"/>
          </a:xfrm>
          <a:prstGeom prst="rect">
            <a:avLst/>
          </a:prstGeom>
        </p:spPr>
      </p:pic>
      <p:pic>
        <p:nvPicPr>
          <p:cNvPr id="10" name="Graphic 9">
            <a:extLst>
              <a:ext uri="{FF2B5EF4-FFF2-40B4-BE49-F238E27FC236}">
                <a16:creationId xmlns:a16="http://schemas.microsoft.com/office/drawing/2014/main" id="{AB2D1A46-C011-4224-87A7-87AB444C55E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3656" y="1870502"/>
            <a:ext cx="956187" cy="956187"/>
          </a:xfrm>
          <a:prstGeom prst="rect">
            <a:avLst/>
          </a:prstGeom>
        </p:spPr>
      </p:pic>
    </p:spTree>
    <p:extLst>
      <p:ext uri="{BB962C8B-B14F-4D97-AF65-F5344CB8AC3E}">
        <p14:creationId xmlns:p14="http://schemas.microsoft.com/office/powerpoint/2010/main" val="38957683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1C54F3-D392-E11D-64A0-C56612970839}"/>
              </a:ext>
            </a:extLst>
          </p:cNvPr>
          <p:cNvGraphicFramePr>
            <a:graphicFrameLocks noChangeAspect="1"/>
          </p:cNvGraphicFramePr>
          <p:nvPr>
            <p:custDataLst>
              <p:tags r:id="rId1"/>
            </p:custDataLst>
            <p:extLst>
              <p:ext uri="{D42A27DB-BD31-4B8C-83A1-F6EECF244321}">
                <p14:modId xmlns:p14="http://schemas.microsoft.com/office/powerpoint/2010/main" val="2431273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DA1C54F3-D392-E11D-64A0-C566129708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標題 1">
            <a:extLst>
              <a:ext uri="{FF2B5EF4-FFF2-40B4-BE49-F238E27FC236}">
                <a16:creationId xmlns:a16="http://schemas.microsoft.com/office/drawing/2014/main" id="{E9B03076-EE47-E110-4946-874192565B0D}"/>
              </a:ext>
            </a:extLst>
          </p:cNvPr>
          <p:cNvSpPr>
            <a:spLocks noGrp="1"/>
          </p:cNvSpPr>
          <p:nvPr>
            <p:ph type="title"/>
          </p:nvPr>
        </p:nvSpPr>
        <p:spPr>
          <a:xfrm>
            <a:off x="381000" y="381000"/>
            <a:ext cx="11064240" cy="830997"/>
          </a:xfrm>
        </p:spPr>
        <p:txBody>
          <a:bodyPr vert="horz"/>
          <a:lstStyle/>
          <a:p>
            <a:r>
              <a:rPr lang="en-US" altLang="zh-TW"/>
              <a:t>Strateg</a:t>
            </a:r>
            <a:r>
              <a:rPr lang="en-US"/>
              <a:t>ies </a:t>
            </a:r>
            <a:r>
              <a:rPr lang="en-US" altLang="zh-TW"/>
              <a:t>for e-commerce: I</a:t>
            </a:r>
            <a:r>
              <a:rPr lang="zh-TW" altLang="en-US"/>
              <a:t>ncrease competitiveness on Amazon by </a:t>
            </a:r>
            <a:r>
              <a:rPr lang="en-US" altLang="zh-TW"/>
              <a:t>placement &amp; advertisement</a:t>
            </a:r>
            <a:endParaRPr lang="zh-TW" altLang="en-US"/>
          </a:p>
        </p:txBody>
      </p:sp>
      <p:sp>
        <p:nvSpPr>
          <p:cNvPr id="3" name="Rectangle 2">
            <a:extLst>
              <a:ext uri="{FF2B5EF4-FFF2-40B4-BE49-F238E27FC236}">
                <a16:creationId xmlns:a16="http://schemas.microsoft.com/office/drawing/2014/main" id="{F29C158A-4B00-97F1-43D7-873B80FBD3F6}"/>
              </a:ext>
            </a:extLst>
          </p:cNvPr>
          <p:cNvSpPr/>
          <p:nvPr/>
        </p:nvSpPr>
        <p:spPr>
          <a:xfrm>
            <a:off x="3429000" y="6096000"/>
            <a:ext cx="8378825" cy="381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90000"/>
              </a:lnSpc>
            </a:pPr>
            <a:r>
              <a:rPr lang="en-US" sz="700">
                <a:solidFill>
                  <a:schemeClr val="tx1"/>
                </a:solidFill>
              </a:rPr>
              <a:t>Source: Kearney</a:t>
            </a:r>
          </a:p>
        </p:txBody>
      </p:sp>
      <p:sp>
        <p:nvSpPr>
          <p:cNvPr id="7" name="Rectangle 6">
            <a:extLst>
              <a:ext uri="{FF2B5EF4-FFF2-40B4-BE49-F238E27FC236}">
                <a16:creationId xmlns:a16="http://schemas.microsoft.com/office/drawing/2014/main" id="{F5B981A4-0319-604E-C842-2243FC1CCBFA}"/>
              </a:ext>
            </a:extLst>
          </p:cNvPr>
          <p:cNvSpPr/>
          <p:nvPr/>
        </p:nvSpPr>
        <p:spPr>
          <a:xfrm>
            <a:off x="0" y="1534160"/>
            <a:ext cx="6096000" cy="4572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182880" rIns="72009" bIns="72009" rtlCol="0" anchor="t"/>
          <a:lstStyle/>
          <a:p>
            <a:pPr algn="l">
              <a:lnSpc>
                <a:spcPct val="90000"/>
              </a:lnSpc>
            </a:pPr>
            <a:r>
              <a:rPr lang="en-US" sz="2800" b="1">
                <a:solidFill>
                  <a:schemeClr val="tx2"/>
                </a:solidFill>
              </a:rPr>
              <a:t>1. </a:t>
            </a:r>
            <a:r>
              <a:rPr lang="en-US" sz="1600" b="1">
                <a:solidFill>
                  <a:schemeClr val="tx2"/>
                </a:solidFill>
              </a:rPr>
              <a:t>Improve organic and sponsored placement</a:t>
            </a:r>
          </a:p>
        </p:txBody>
      </p:sp>
      <p:sp>
        <p:nvSpPr>
          <p:cNvPr id="8" name="Rectangle 7">
            <a:extLst>
              <a:ext uri="{FF2B5EF4-FFF2-40B4-BE49-F238E27FC236}">
                <a16:creationId xmlns:a16="http://schemas.microsoft.com/office/drawing/2014/main" id="{EE481ADF-2CDE-D8B6-C861-35DF43226A99}"/>
              </a:ext>
            </a:extLst>
          </p:cNvPr>
          <p:cNvSpPr/>
          <p:nvPr/>
        </p:nvSpPr>
        <p:spPr>
          <a:xfrm>
            <a:off x="6096000" y="1534160"/>
            <a:ext cx="6096000" cy="4572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182880" rIns="72009" bIns="72009" rtlCol="0" anchor="t"/>
          <a:lstStyle/>
          <a:p>
            <a:pPr algn="l">
              <a:lnSpc>
                <a:spcPct val="90000"/>
              </a:lnSpc>
            </a:pPr>
            <a:r>
              <a:rPr lang="en-US" sz="2800" b="1">
                <a:solidFill>
                  <a:schemeClr val="tx2"/>
                </a:solidFill>
              </a:rPr>
              <a:t>2. </a:t>
            </a:r>
            <a:r>
              <a:rPr lang="en-US" sz="1600" b="1">
                <a:solidFill>
                  <a:schemeClr val="tx2"/>
                </a:solidFill>
              </a:rPr>
              <a:t>Optimize return on advertisement spend</a:t>
            </a:r>
          </a:p>
        </p:txBody>
      </p:sp>
      <p:sp>
        <p:nvSpPr>
          <p:cNvPr id="9" name="圓角矩形 21">
            <a:extLst>
              <a:ext uri="{FF2B5EF4-FFF2-40B4-BE49-F238E27FC236}">
                <a16:creationId xmlns:a16="http://schemas.microsoft.com/office/drawing/2014/main" id="{8605FB97-61CD-CD98-8FB9-A51BC3232CED}"/>
              </a:ext>
            </a:extLst>
          </p:cNvPr>
          <p:cNvSpPr/>
          <p:nvPr/>
        </p:nvSpPr>
        <p:spPr>
          <a:xfrm>
            <a:off x="6096000" y="2293028"/>
            <a:ext cx="6096000" cy="3900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72009" rIns="72009" bIns="72009" rtlCol="0" anchor="ctr"/>
          <a:lstStyle/>
          <a:p>
            <a:pPr>
              <a:lnSpc>
                <a:spcPct val="90000"/>
              </a:lnSpc>
              <a:buClr>
                <a:schemeClr val="tx1"/>
              </a:buClr>
              <a:buSzPct val="100000"/>
            </a:pPr>
            <a:r>
              <a:rPr lang="en-US" altLang="zh-TW" sz="1600" b="1">
                <a:solidFill>
                  <a:schemeClr val="tx1"/>
                </a:solidFill>
                <a:ea typeface="+mn-lt"/>
                <a:cs typeface="Arial"/>
              </a:rPr>
              <a:t>2.1. Determine which categories to advertise</a:t>
            </a:r>
            <a:endParaRPr lang="zh-TW" altLang="zh-TW" sz="1600" b="1">
              <a:solidFill>
                <a:schemeClr val="tx1"/>
              </a:solidFill>
              <a:ea typeface="微軟正黑體"/>
              <a:cs typeface="Arial"/>
            </a:endParaRPr>
          </a:p>
        </p:txBody>
      </p:sp>
      <p:sp>
        <p:nvSpPr>
          <p:cNvPr id="15" name="圓角矩形 22">
            <a:extLst>
              <a:ext uri="{FF2B5EF4-FFF2-40B4-BE49-F238E27FC236}">
                <a16:creationId xmlns:a16="http://schemas.microsoft.com/office/drawing/2014/main" id="{4A55CB4C-182B-B650-D097-B7FE8478E2E6}"/>
              </a:ext>
            </a:extLst>
          </p:cNvPr>
          <p:cNvSpPr/>
          <p:nvPr/>
        </p:nvSpPr>
        <p:spPr>
          <a:xfrm>
            <a:off x="0" y="4568640"/>
            <a:ext cx="6096000" cy="39004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72009" rIns="72009" bIns="72009" rtlCol="0" anchor="ctr"/>
          <a:lstStyle/>
          <a:p>
            <a:pPr>
              <a:lnSpc>
                <a:spcPct val="90000"/>
              </a:lnSpc>
              <a:buClr>
                <a:schemeClr val="tx1"/>
              </a:buClr>
              <a:buSzPct val="100000"/>
            </a:pPr>
            <a:r>
              <a:rPr lang="en-US" altLang="zh-TW" sz="1600" b="1">
                <a:solidFill>
                  <a:schemeClr val="tx1"/>
                </a:solidFill>
                <a:ea typeface="+mn-lt"/>
                <a:cs typeface="Arial"/>
              </a:rPr>
              <a:t>1.3. Target platform to attract more customers</a:t>
            </a:r>
            <a:endParaRPr lang="zh-TW" altLang="zh-TW" sz="1600" b="1">
              <a:solidFill>
                <a:schemeClr val="tx1"/>
              </a:solidFill>
              <a:ea typeface="微軟正黑體"/>
              <a:cs typeface="Arial"/>
            </a:endParaRPr>
          </a:p>
        </p:txBody>
      </p:sp>
      <p:sp>
        <p:nvSpPr>
          <p:cNvPr id="16" name="圓角矩形 23">
            <a:extLst>
              <a:ext uri="{FF2B5EF4-FFF2-40B4-BE49-F238E27FC236}">
                <a16:creationId xmlns:a16="http://schemas.microsoft.com/office/drawing/2014/main" id="{06575530-1A02-C183-C2AA-A9107453D125}"/>
              </a:ext>
            </a:extLst>
          </p:cNvPr>
          <p:cNvSpPr/>
          <p:nvPr/>
        </p:nvSpPr>
        <p:spPr>
          <a:xfrm>
            <a:off x="6096000" y="3809132"/>
            <a:ext cx="6096000" cy="3900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72009" rIns="72009" bIns="72009" rtlCol="0" anchor="ctr"/>
          <a:lstStyle/>
          <a:p>
            <a:pPr>
              <a:lnSpc>
                <a:spcPct val="90000"/>
              </a:lnSpc>
              <a:buClr>
                <a:schemeClr val="tx1"/>
              </a:buClr>
              <a:buSzPct val="100000"/>
            </a:pPr>
            <a:r>
              <a:rPr lang="en-US" altLang="zh-TW" sz="1600" b="1">
                <a:solidFill>
                  <a:schemeClr val="tx1"/>
                </a:solidFill>
                <a:ea typeface="+mn-lt"/>
                <a:cs typeface="Arial"/>
              </a:rPr>
              <a:t>2.2. Determine when to advertise</a:t>
            </a:r>
            <a:endParaRPr lang="zh-TW" altLang="zh-TW" sz="1600" b="1">
              <a:solidFill>
                <a:schemeClr val="tx1"/>
              </a:solidFill>
              <a:ea typeface="微軟正黑體"/>
              <a:cs typeface="Arial"/>
            </a:endParaRPr>
          </a:p>
        </p:txBody>
      </p:sp>
      <p:sp>
        <p:nvSpPr>
          <p:cNvPr id="17" name="圓角矩形 24">
            <a:extLst>
              <a:ext uri="{FF2B5EF4-FFF2-40B4-BE49-F238E27FC236}">
                <a16:creationId xmlns:a16="http://schemas.microsoft.com/office/drawing/2014/main" id="{74032594-8523-5906-900F-204E94071E0C}"/>
              </a:ext>
            </a:extLst>
          </p:cNvPr>
          <p:cNvSpPr/>
          <p:nvPr/>
        </p:nvSpPr>
        <p:spPr>
          <a:xfrm>
            <a:off x="0" y="3426590"/>
            <a:ext cx="6096000" cy="39004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72009" rIns="72009" bIns="72009" rtlCol="0" anchor="ctr"/>
          <a:lstStyle/>
          <a:p>
            <a:pPr>
              <a:lnSpc>
                <a:spcPct val="90000"/>
              </a:lnSpc>
              <a:buClr>
                <a:schemeClr val="tx1"/>
              </a:buClr>
              <a:buSzPct val="100000"/>
            </a:pPr>
            <a:r>
              <a:rPr lang="en-US" altLang="zh-TW" sz="1600" b="1">
                <a:solidFill>
                  <a:schemeClr val="tx1"/>
                </a:solidFill>
                <a:ea typeface="+mn-lt"/>
                <a:cs typeface="Arial"/>
              </a:rPr>
              <a:t>1.2. Choose better advertisement type</a:t>
            </a:r>
            <a:endParaRPr lang="zh-TW" altLang="zh-TW" sz="1600" b="1">
              <a:solidFill>
                <a:schemeClr val="tx1"/>
              </a:solidFill>
              <a:ea typeface="微軟正黑體"/>
              <a:cs typeface="Arial"/>
            </a:endParaRPr>
          </a:p>
        </p:txBody>
      </p:sp>
      <p:sp>
        <p:nvSpPr>
          <p:cNvPr id="19" name="圓角矩形 30">
            <a:extLst>
              <a:ext uri="{FF2B5EF4-FFF2-40B4-BE49-F238E27FC236}">
                <a16:creationId xmlns:a16="http://schemas.microsoft.com/office/drawing/2014/main" id="{6523BEBE-536C-51AE-8796-A05CD6106016}"/>
              </a:ext>
            </a:extLst>
          </p:cNvPr>
          <p:cNvSpPr/>
          <p:nvPr/>
        </p:nvSpPr>
        <p:spPr>
          <a:xfrm>
            <a:off x="0" y="2293028"/>
            <a:ext cx="6096000" cy="39004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4048" tIns="72009" rIns="72009" bIns="72009" rtlCol="0" anchor="ctr"/>
          <a:lstStyle/>
          <a:p>
            <a:pPr>
              <a:lnSpc>
                <a:spcPct val="90000"/>
              </a:lnSpc>
              <a:buClr>
                <a:schemeClr val="tx1"/>
              </a:buClr>
              <a:buSzPct val="100000"/>
            </a:pPr>
            <a:r>
              <a:rPr lang="en-US" altLang="zh-TW" sz="1600" b="1">
                <a:solidFill>
                  <a:schemeClr val="tx1"/>
                </a:solidFill>
                <a:ea typeface="微軟正黑體"/>
                <a:cs typeface="Arial"/>
              </a:rPr>
              <a:t>1.1. Improve product visibility with content score</a:t>
            </a:r>
            <a:endParaRPr lang="zh-TW" altLang="zh-TW" sz="1600" b="1">
              <a:solidFill>
                <a:schemeClr val="tx1"/>
              </a:solidFill>
              <a:ea typeface="微軟正黑體"/>
              <a:cs typeface="Arial"/>
            </a:endParaRPr>
          </a:p>
        </p:txBody>
      </p:sp>
      <p:sp>
        <p:nvSpPr>
          <p:cNvPr id="21" name="文字方塊 11">
            <a:extLst>
              <a:ext uri="{FF2B5EF4-FFF2-40B4-BE49-F238E27FC236}">
                <a16:creationId xmlns:a16="http://schemas.microsoft.com/office/drawing/2014/main" id="{20D139E7-F8AB-CA44-2B03-A8C6120A1650}"/>
              </a:ext>
            </a:extLst>
          </p:cNvPr>
          <p:cNvSpPr txBox="1"/>
          <p:nvPr/>
        </p:nvSpPr>
        <p:spPr>
          <a:xfrm>
            <a:off x="381000" y="2797125"/>
            <a:ext cx="5203743" cy="4647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altLang="zh-TW" sz="1400">
                <a:ea typeface="微軟正黑體"/>
                <a:cs typeface="Arial"/>
              </a:rPr>
              <a:t>Analyze correlation between product content and content score</a:t>
            </a:r>
          </a:p>
          <a:p>
            <a:pPr marL="177800" indent="-177800">
              <a:lnSpc>
                <a:spcPct val="90000"/>
              </a:lnSpc>
              <a:spcBef>
                <a:spcPts val="600"/>
              </a:spcBef>
              <a:buClr>
                <a:srgbClr val="1E1E1E"/>
              </a:buClr>
              <a:buSzPct val="100000"/>
              <a:buFont typeface="Arial" panose="020B0604020202020204" pitchFamily="34" charset="0"/>
              <a:buChar char="–"/>
            </a:pPr>
            <a:r>
              <a:rPr lang="en-US" altLang="zh-TW" sz="1400">
                <a:ea typeface="微軟正黑體"/>
                <a:cs typeface="Arial"/>
              </a:rPr>
              <a:t>Improve content score to get higher placement</a:t>
            </a:r>
            <a:endParaRPr lang="en-US" sz="2000">
              <a:ea typeface="微軟正黑體"/>
            </a:endParaRPr>
          </a:p>
        </p:txBody>
      </p:sp>
      <p:sp>
        <p:nvSpPr>
          <p:cNvPr id="27" name="文字方塊 9">
            <a:extLst>
              <a:ext uri="{FF2B5EF4-FFF2-40B4-BE49-F238E27FC236}">
                <a16:creationId xmlns:a16="http://schemas.microsoft.com/office/drawing/2014/main" id="{B59227B1-4451-E824-1B6E-45BB73ED6042}"/>
              </a:ext>
            </a:extLst>
          </p:cNvPr>
          <p:cNvSpPr txBox="1"/>
          <p:nvPr/>
        </p:nvSpPr>
        <p:spPr>
          <a:xfrm>
            <a:off x="381000" y="3920527"/>
            <a:ext cx="5203743" cy="3877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a:ea typeface="+mn-lt"/>
                <a:cs typeface="+mn-lt"/>
              </a:rPr>
              <a:t>Calculate </a:t>
            </a:r>
            <a:r>
              <a:rPr lang="en-US" sz="1400" err="1">
                <a:ea typeface="+mn-lt"/>
                <a:cs typeface="+mn-lt"/>
              </a:rPr>
              <a:t>RoAS</a:t>
            </a:r>
            <a:r>
              <a:rPr lang="en-US" sz="1400">
                <a:ea typeface="+mn-lt"/>
                <a:cs typeface="+mn-lt"/>
              </a:rPr>
              <a:t> to decide which Amazon PPC ads we should invest in</a:t>
            </a:r>
            <a:endParaRPr lang="en-US" altLang="zh-TW" sz="1400">
              <a:ea typeface="微軟正黑體"/>
              <a:cs typeface="Arial"/>
            </a:endParaRPr>
          </a:p>
        </p:txBody>
      </p:sp>
      <p:sp>
        <p:nvSpPr>
          <p:cNvPr id="29" name="文字方塊 10">
            <a:extLst>
              <a:ext uri="{FF2B5EF4-FFF2-40B4-BE49-F238E27FC236}">
                <a16:creationId xmlns:a16="http://schemas.microsoft.com/office/drawing/2014/main" id="{6D9DA9B0-6B6F-01D7-C1A8-8D1EC1235D97}"/>
              </a:ext>
            </a:extLst>
          </p:cNvPr>
          <p:cNvSpPr txBox="1"/>
          <p:nvPr/>
        </p:nvSpPr>
        <p:spPr>
          <a:xfrm>
            <a:off x="381000" y="5027292"/>
            <a:ext cx="5334000" cy="9294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dirty="0">
                <a:ea typeface="+mn-lt"/>
                <a:cs typeface="+mn-lt"/>
              </a:rPr>
              <a:t>Targeting Client’s key age demographics with social media advertising</a:t>
            </a:r>
            <a:endParaRPr lang="zh-TW" altLang="en-US" sz="1400" dirty="0">
              <a:ea typeface="+mn-lt"/>
              <a:cs typeface="+mn-lt"/>
            </a:endParaRPr>
          </a:p>
          <a:p>
            <a:pPr marL="177800" indent="-177800">
              <a:lnSpc>
                <a:spcPct val="90000"/>
              </a:lnSpc>
              <a:spcBef>
                <a:spcPts val="600"/>
              </a:spcBef>
              <a:buClr>
                <a:srgbClr val="1E1E1E"/>
              </a:buClr>
              <a:buSzPct val="100000"/>
              <a:buFont typeface="Arial" panose="020B0604020202020204" pitchFamily="34" charset="0"/>
              <a:buChar char="–"/>
            </a:pPr>
            <a:r>
              <a:rPr lang="en-US" sz="1400" dirty="0">
                <a:ea typeface="微軟正黑體"/>
                <a:cs typeface="Arial"/>
              </a:rPr>
              <a:t>Choose high audience reaching platform</a:t>
            </a:r>
            <a:endParaRPr lang="zh-TW" sz="1400" dirty="0">
              <a:ea typeface="微軟正黑體"/>
              <a:cs typeface="Arial"/>
            </a:endParaRPr>
          </a:p>
          <a:p>
            <a:pPr marL="177800" indent="-177800">
              <a:lnSpc>
                <a:spcPct val="90000"/>
              </a:lnSpc>
              <a:spcBef>
                <a:spcPts val="600"/>
              </a:spcBef>
              <a:buClr>
                <a:srgbClr val="1E1E1E"/>
              </a:buClr>
              <a:buSzPct val="100000"/>
              <a:buFont typeface="Arial" panose="020B0604020202020204" pitchFamily="34" charset="0"/>
              <a:buChar char="–"/>
            </a:pPr>
            <a:r>
              <a:rPr lang="en-US" sz="1400" dirty="0">
                <a:ea typeface="微軟正黑體"/>
                <a:cs typeface="Arial"/>
              </a:rPr>
              <a:t>Focus on social platform with better ROI</a:t>
            </a:r>
            <a:endParaRPr lang="zh-TW" altLang="en-US" sz="1400" dirty="0">
              <a:ea typeface="微軟正黑體"/>
              <a:cs typeface="Arial"/>
            </a:endParaRPr>
          </a:p>
        </p:txBody>
      </p:sp>
      <p:sp>
        <p:nvSpPr>
          <p:cNvPr id="30" name="文字方塊 12">
            <a:extLst>
              <a:ext uri="{FF2B5EF4-FFF2-40B4-BE49-F238E27FC236}">
                <a16:creationId xmlns:a16="http://schemas.microsoft.com/office/drawing/2014/main" id="{67C3EBE4-2FF2-621F-E784-06B9F292634E}"/>
              </a:ext>
            </a:extLst>
          </p:cNvPr>
          <p:cNvSpPr txBox="1"/>
          <p:nvPr/>
        </p:nvSpPr>
        <p:spPr>
          <a:xfrm>
            <a:off x="6492904" y="2797125"/>
            <a:ext cx="5203743" cy="65864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7800" indent="-177800">
              <a:lnSpc>
                <a:spcPct val="90000"/>
              </a:lnSpc>
              <a:spcBef>
                <a:spcPts val="600"/>
              </a:spcBef>
              <a:buClr>
                <a:srgbClr val="000000"/>
              </a:buClr>
              <a:buSzPct val="100000"/>
              <a:buFont typeface="Arial" panose="020B0604020202020204" pitchFamily="34" charset="0"/>
              <a:buChar char="–"/>
            </a:pPr>
            <a:r>
              <a:rPr lang="en-US" sz="1400">
                <a:ea typeface="+mn-lt"/>
                <a:cs typeface="Arial"/>
              </a:rPr>
              <a:t>Use regression model to find the top categories generate the highest profit</a:t>
            </a:r>
            <a:endParaRPr lang="en-US" sz="700">
              <a:ea typeface="+mn-lt"/>
              <a:cs typeface="Arial"/>
            </a:endParaRPr>
          </a:p>
          <a:p>
            <a:pPr marL="177800" indent="-177800">
              <a:lnSpc>
                <a:spcPct val="90000"/>
              </a:lnSpc>
              <a:spcBef>
                <a:spcPts val="600"/>
              </a:spcBef>
              <a:buClr>
                <a:srgbClr val="000000"/>
              </a:buClr>
              <a:buSzPct val="100000"/>
              <a:buFont typeface="Arial" panose="020B0604020202020204" pitchFamily="34" charset="0"/>
              <a:buChar char="–"/>
            </a:pPr>
            <a:r>
              <a:rPr lang="en-US" sz="1400">
                <a:solidFill>
                  <a:srgbClr val="1E1E1E"/>
                </a:solidFill>
                <a:ea typeface="+mn-lt"/>
                <a:cs typeface="+mn-lt"/>
              </a:rPr>
              <a:t>Allocate budget based on forecast results</a:t>
            </a:r>
            <a:endParaRPr lang="en-US" altLang="zh-TW" sz="1400">
              <a:solidFill>
                <a:srgbClr val="1E1E1E"/>
              </a:solidFill>
              <a:ea typeface="+mn-lt"/>
              <a:cs typeface="Arial"/>
            </a:endParaRPr>
          </a:p>
        </p:txBody>
      </p:sp>
      <p:sp>
        <p:nvSpPr>
          <p:cNvPr id="32" name="文字方塊 13">
            <a:extLst>
              <a:ext uri="{FF2B5EF4-FFF2-40B4-BE49-F238E27FC236}">
                <a16:creationId xmlns:a16="http://schemas.microsoft.com/office/drawing/2014/main" id="{80125CE3-A279-572A-E0CB-6D764109B584}"/>
              </a:ext>
            </a:extLst>
          </p:cNvPr>
          <p:cNvSpPr txBox="1"/>
          <p:nvPr/>
        </p:nvSpPr>
        <p:spPr>
          <a:xfrm>
            <a:off x="6492905" y="4251865"/>
            <a:ext cx="5203743" cy="100604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7800" indent="-177800">
              <a:lnSpc>
                <a:spcPct val="90000"/>
              </a:lnSpc>
              <a:spcBef>
                <a:spcPts val="600"/>
              </a:spcBef>
              <a:buClr>
                <a:srgbClr val="000000"/>
              </a:buClr>
              <a:buSzPct val="100000"/>
              <a:buFont typeface="Arial" panose="020B0604020202020204" pitchFamily="34" charset="0"/>
              <a:buChar char="–"/>
            </a:pPr>
            <a:r>
              <a:rPr lang="en-US" sz="1400">
                <a:ea typeface="+mn-lt"/>
                <a:cs typeface="+mn-lt"/>
              </a:rPr>
              <a:t>Analyze various benefit indicators to determine the promotion time based on monthly, weekly, holiday trend</a:t>
            </a:r>
            <a:endParaRPr lang="en-US" sz="1400">
              <a:ea typeface="+mn-lt"/>
              <a:cs typeface="Arial"/>
            </a:endParaRPr>
          </a:p>
          <a:p>
            <a:pPr marL="177800" indent="-177800">
              <a:lnSpc>
                <a:spcPct val="90000"/>
              </a:lnSpc>
              <a:spcBef>
                <a:spcPts val="600"/>
              </a:spcBef>
              <a:buClr>
                <a:srgbClr val="000000"/>
              </a:buClr>
              <a:buSzPct val="100000"/>
              <a:buFont typeface="Arial" panose="020B0604020202020204" pitchFamily="34" charset="0"/>
              <a:buChar char="–"/>
            </a:pPr>
            <a:r>
              <a:rPr lang="en-US" sz="1400">
                <a:solidFill>
                  <a:srgbClr val="1E1E1E"/>
                </a:solidFill>
                <a:ea typeface="+mn-lt"/>
                <a:cs typeface="Arial"/>
              </a:rPr>
              <a:t>Train LSTM model to predict best promotion time and spend</a:t>
            </a:r>
          </a:p>
        </p:txBody>
      </p:sp>
      <p:pic>
        <p:nvPicPr>
          <p:cNvPr id="38" name="Graphic 37">
            <a:extLst>
              <a:ext uri="{FF2B5EF4-FFF2-40B4-BE49-F238E27FC236}">
                <a16:creationId xmlns:a16="http://schemas.microsoft.com/office/drawing/2014/main" id="{F7E8DC15-D0DD-363D-1420-3570CAE6EAD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75718" y="2323435"/>
            <a:ext cx="339282" cy="339282"/>
          </a:xfrm>
          <a:prstGeom prst="rect">
            <a:avLst/>
          </a:prstGeom>
        </p:spPr>
      </p:pic>
      <p:pic>
        <p:nvPicPr>
          <p:cNvPr id="39" name="Graphic 38">
            <a:extLst>
              <a:ext uri="{FF2B5EF4-FFF2-40B4-BE49-F238E27FC236}">
                <a16:creationId xmlns:a16="http://schemas.microsoft.com/office/drawing/2014/main" id="{E73E16F5-9C3A-C03D-CFBB-00BD2897666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75718" y="3451969"/>
            <a:ext cx="339282" cy="339282"/>
          </a:xfrm>
          <a:prstGeom prst="rect">
            <a:avLst/>
          </a:prstGeom>
        </p:spPr>
      </p:pic>
      <p:pic>
        <p:nvPicPr>
          <p:cNvPr id="40" name="Graphic 39">
            <a:extLst>
              <a:ext uri="{FF2B5EF4-FFF2-40B4-BE49-F238E27FC236}">
                <a16:creationId xmlns:a16="http://schemas.microsoft.com/office/drawing/2014/main" id="{5CB1D848-A67D-047D-B66D-DB38A0E6F1E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75718" y="4594019"/>
            <a:ext cx="339282" cy="339282"/>
          </a:xfrm>
          <a:prstGeom prst="rect">
            <a:avLst/>
          </a:prstGeom>
        </p:spPr>
      </p:pic>
      <p:pic>
        <p:nvPicPr>
          <p:cNvPr id="41" name="Graphic 40">
            <a:extLst>
              <a:ext uri="{FF2B5EF4-FFF2-40B4-BE49-F238E27FC236}">
                <a16:creationId xmlns:a16="http://schemas.microsoft.com/office/drawing/2014/main" id="{F0512582-8CFD-A414-DACF-CB952B1111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445240" y="3834511"/>
            <a:ext cx="339282" cy="339282"/>
          </a:xfrm>
          <a:prstGeom prst="rect">
            <a:avLst/>
          </a:prstGeom>
        </p:spPr>
      </p:pic>
      <p:pic>
        <p:nvPicPr>
          <p:cNvPr id="42" name="Graphic 41">
            <a:extLst>
              <a:ext uri="{FF2B5EF4-FFF2-40B4-BE49-F238E27FC236}">
                <a16:creationId xmlns:a16="http://schemas.microsoft.com/office/drawing/2014/main" id="{59B27435-243E-2F90-5B1B-05C918EE844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448379" y="2318407"/>
            <a:ext cx="337858" cy="339282"/>
          </a:xfrm>
          <a:prstGeom prst="rect">
            <a:avLst/>
          </a:prstGeom>
        </p:spPr>
      </p:pic>
    </p:spTree>
    <p:extLst>
      <p:ext uri="{BB962C8B-B14F-4D97-AF65-F5344CB8AC3E}">
        <p14:creationId xmlns:p14="http://schemas.microsoft.com/office/powerpoint/2010/main" val="2837215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9DBAF9-1A90-D033-FE4B-AB7D23C7EC67}"/>
              </a:ext>
            </a:extLst>
          </p:cNvPr>
          <p:cNvGraphicFramePr>
            <a:graphicFrameLocks noChangeAspect="1"/>
          </p:cNvGraphicFramePr>
          <p:nvPr>
            <p:custDataLst>
              <p:tags r:id="rId1"/>
            </p:custDataLst>
            <p:extLst>
              <p:ext uri="{D42A27DB-BD31-4B8C-83A1-F6EECF244321}">
                <p14:modId xmlns:p14="http://schemas.microsoft.com/office/powerpoint/2010/main" val="3562936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7D9DBAF9-1A90-D033-FE4B-AB7D23C7EC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86471DF4-FE4D-35F5-71E9-1EC66F010AFB}"/>
              </a:ext>
            </a:extLst>
          </p:cNvPr>
          <p:cNvSpPr/>
          <p:nvPr/>
        </p:nvSpPr>
        <p:spPr>
          <a:xfrm>
            <a:off x="3048000" y="2667000"/>
            <a:ext cx="9144000" cy="381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6" name="矩形 7">
            <a:extLst>
              <a:ext uri="{FF2B5EF4-FFF2-40B4-BE49-F238E27FC236}">
                <a16:creationId xmlns:a16="http://schemas.microsoft.com/office/drawing/2014/main" id="{B614228A-7F40-0565-38FE-49A4BF7964D7}"/>
              </a:ext>
            </a:extLst>
          </p:cNvPr>
          <p:cNvSpPr/>
          <p:nvPr/>
        </p:nvSpPr>
        <p:spPr>
          <a:xfrm>
            <a:off x="7620000" y="3048001"/>
            <a:ext cx="4580744" cy="381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84048" tIns="91440" rIns="72009" bIns="7200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r>
              <a:rPr lang="en-IN" altLang="zh-TW" sz="1600" b="1">
                <a:solidFill>
                  <a:schemeClr val="tx1"/>
                </a:solidFill>
              </a:rPr>
              <a:t>Rating Strategy</a:t>
            </a:r>
          </a:p>
        </p:txBody>
      </p:sp>
      <p:sp>
        <p:nvSpPr>
          <p:cNvPr id="17" name="Rectangle 16">
            <a:extLst>
              <a:ext uri="{FF2B5EF4-FFF2-40B4-BE49-F238E27FC236}">
                <a16:creationId xmlns:a16="http://schemas.microsoft.com/office/drawing/2014/main" id="{0B145925-EE77-E95F-C309-8C84B14E687C}"/>
              </a:ext>
            </a:extLst>
          </p:cNvPr>
          <p:cNvSpPr/>
          <p:nvPr/>
        </p:nvSpPr>
        <p:spPr>
          <a:xfrm>
            <a:off x="3048000" y="0"/>
            <a:ext cx="9144000" cy="2667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8" name="矩形 7">
            <a:extLst>
              <a:ext uri="{FF2B5EF4-FFF2-40B4-BE49-F238E27FC236}">
                <a16:creationId xmlns:a16="http://schemas.microsoft.com/office/drawing/2014/main" id="{B24614C4-4C35-CB1D-F086-30224205643C}"/>
              </a:ext>
            </a:extLst>
          </p:cNvPr>
          <p:cNvSpPr/>
          <p:nvPr/>
        </p:nvSpPr>
        <p:spPr>
          <a:xfrm>
            <a:off x="3039256" y="3048001"/>
            <a:ext cx="4580744" cy="3810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84048" tIns="91440" rIns="72009" bIns="7200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r>
              <a:rPr lang="en-IN" altLang="zh-TW" sz="1600" b="1">
                <a:solidFill>
                  <a:schemeClr val="tx1"/>
                </a:solidFill>
              </a:rPr>
              <a:t>Pricing Strategy</a:t>
            </a:r>
          </a:p>
        </p:txBody>
      </p:sp>
      <p:grpSp>
        <p:nvGrpSpPr>
          <p:cNvPr id="11" name="群組 10">
            <a:extLst>
              <a:ext uri="{FF2B5EF4-FFF2-40B4-BE49-F238E27FC236}">
                <a16:creationId xmlns:a16="http://schemas.microsoft.com/office/drawing/2014/main" id="{FF63C397-0F21-A788-CC8B-314546A8BA62}"/>
              </a:ext>
            </a:extLst>
          </p:cNvPr>
          <p:cNvGrpSpPr/>
          <p:nvPr/>
        </p:nvGrpSpPr>
        <p:grpSpPr>
          <a:xfrm>
            <a:off x="8105406" y="5376301"/>
            <a:ext cx="1856257" cy="668140"/>
            <a:chOff x="7963166" y="5565098"/>
            <a:chExt cx="1856257" cy="668140"/>
          </a:xfrm>
        </p:grpSpPr>
        <p:sp>
          <p:nvSpPr>
            <p:cNvPr id="73" name="文字方塊 47">
              <a:extLst>
                <a:ext uri="{FF2B5EF4-FFF2-40B4-BE49-F238E27FC236}">
                  <a16:creationId xmlns:a16="http://schemas.microsoft.com/office/drawing/2014/main" id="{AC822021-E7D1-293A-AA5E-3A4D3FA37737}"/>
                </a:ext>
              </a:extLst>
            </p:cNvPr>
            <p:cNvSpPr txBox="1"/>
            <p:nvPr/>
          </p:nvSpPr>
          <p:spPr>
            <a:xfrm>
              <a:off x="8448569" y="5568441"/>
              <a:ext cx="1370854" cy="66479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pPr>
              <a:r>
                <a:rPr lang="en-US" altLang="zh-TW" sz="1600" b="1">
                  <a:ea typeface="+mn-lt"/>
                  <a:cs typeface="+mn-lt"/>
                </a:rPr>
                <a:t>Enhancing </a:t>
              </a:r>
              <a:endParaRPr lang="zh-TW" altLang="en-US"/>
            </a:p>
            <a:p>
              <a:pPr marL="71755">
                <a:lnSpc>
                  <a:spcPct val="90000"/>
                </a:lnSpc>
              </a:pPr>
              <a:r>
                <a:rPr lang="en-US" altLang="zh-TW" sz="1600" b="1">
                  <a:ea typeface="+mn-lt"/>
                  <a:cs typeface="+mn-lt"/>
                </a:rPr>
                <a:t>Product </a:t>
              </a:r>
              <a:endParaRPr lang="en-US">
                <a:ea typeface="+mn-lt"/>
                <a:cs typeface="+mn-lt"/>
              </a:endParaRPr>
            </a:p>
            <a:p>
              <a:pPr marL="71755">
                <a:lnSpc>
                  <a:spcPct val="90000"/>
                </a:lnSpc>
              </a:pPr>
              <a:r>
                <a:rPr lang="en-US" altLang="zh-TW" sz="1600" b="1">
                  <a:ea typeface="+mn-lt"/>
                  <a:cs typeface="+mn-lt"/>
                </a:rPr>
                <a:t>Perception</a:t>
              </a:r>
              <a:endParaRPr lang="en-US">
                <a:ea typeface="+mn-lt"/>
                <a:cs typeface="+mn-lt"/>
              </a:endParaRPr>
            </a:p>
          </p:txBody>
        </p:sp>
        <p:pic>
          <p:nvPicPr>
            <p:cNvPr id="74" name="Graphic 394">
              <a:extLst>
                <a:ext uri="{FF2B5EF4-FFF2-40B4-BE49-F238E27FC236}">
                  <a16:creationId xmlns:a16="http://schemas.microsoft.com/office/drawing/2014/main" id="{42EFC867-DEBF-9290-16EA-71C9E4CF6E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63166" y="5565098"/>
              <a:ext cx="468369" cy="468000"/>
            </a:xfrm>
            <a:prstGeom prst="rect">
              <a:avLst/>
            </a:prstGeom>
          </p:spPr>
        </p:pic>
      </p:grpSp>
      <p:sp>
        <p:nvSpPr>
          <p:cNvPr id="31" name="文字方塊 5">
            <a:extLst>
              <a:ext uri="{FF2B5EF4-FFF2-40B4-BE49-F238E27FC236}">
                <a16:creationId xmlns:a16="http://schemas.microsoft.com/office/drawing/2014/main" id="{7773B8FD-8E7A-784C-ABBD-0198599A94C0}"/>
              </a:ext>
            </a:extLst>
          </p:cNvPr>
          <p:cNvSpPr txBox="1"/>
          <p:nvPr/>
        </p:nvSpPr>
        <p:spPr>
          <a:xfrm>
            <a:off x="3429000" y="380999"/>
            <a:ext cx="8382000" cy="221599"/>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spcAft>
                <a:spcPts val="600"/>
              </a:spcAft>
            </a:pPr>
            <a:r>
              <a:rPr lang="en-US" altLang="zh-TW" sz="1600" b="1">
                <a:solidFill>
                  <a:schemeClr val="tx2"/>
                </a:solidFill>
                <a:ea typeface="微軟正黑體"/>
                <a:cs typeface="Arial"/>
              </a:rPr>
              <a:t>1. Key questions to consider</a:t>
            </a:r>
          </a:p>
        </p:txBody>
      </p:sp>
      <p:grpSp>
        <p:nvGrpSpPr>
          <p:cNvPr id="33" name="群組 32">
            <a:extLst>
              <a:ext uri="{FF2B5EF4-FFF2-40B4-BE49-F238E27FC236}">
                <a16:creationId xmlns:a16="http://schemas.microsoft.com/office/drawing/2014/main" id="{B72C8539-D80F-DA03-0C29-0246F8A9F062}"/>
              </a:ext>
            </a:extLst>
          </p:cNvPr>
          <p:cNvGrpSpPr/>
          <p:nvPr/>
        </p:nvGrpSpPr>
        <p:grpSpPr>
          <a:xfrm>
            <a:off x="4336442" y="3689491"/>
            <a:ext cx="2170679" cy="468000"/>
            <a:chOff x="4336442" y="3831402"/>
            <a:chExt cx="2170679" cy="468000"/>
          </a:xfrm>
        </p:grpSpPr>
        <p:sp>
          <p:nvSpPr>
            <p:cNvPr id="71" name="文字方塊 2">
              <a:extLst>
                <a:ext uri="{FF2B5EF4-FFF2-40B4-BE49-F238E27FC236}">
                  <a16:creationId xmlns:a16="http://schemas.microsoft.com/office/drawing/2014/main" id="{F04B5D23-F7BC-5C16-0030-DCAA8FC6336E}"/>
                </a:ext>
              </a:extLst>
            </p:cNvPr>
            <p:cNvSpPr txBox="1"/>
            <p:nvPr/>
          </p:nvSpPr>
          <p:spPr>
            <a:xfrm>
              <a:off x="4862561" y="3838087"/>
              <a:ext cx="1644560" cy="44319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pPr>
              <a:r>
                <a:rPr kumimoji="1" lang="en-US" altLang="zh-TW" sz="1600" b="1">
                  <a:ea typeface="微軟正黑體"/>
                </a:rPr>
                <a:t>Compare </a:t>
              </a:r>
              <a:endParaRPr lang="zh-TW" altLang="en-US">
                <a:cs typeface="Arial" panose="020B0604020202020204"/>
              </a:endParaRPr>
            </a:p>
            <a:p>
              <a:pPr marL="71755">
                <a:lnSpc>
                  <a:spcPct val="90000"/>
                </a:lnSpc>
              </a:pPr>
              <a:r>
                <a:rPr kumimoji="1" lang="en-US" altLang="zh-TW" sz="1600" b="1">
                  <a:ea typeface="微軟正黑體"/>
                </a:rPr>
                <a:t>price index </a:t>
              </a:r>
              <a:endParaRPr lang="en-US">
                <a:cs typeface="Arial" panose="020B0604020202020204"/>
              </a:endParaRPr>
            </a:p>
          </p:txBody>
        </p:sp>
        <p:pic>
          <p:nvPicPr>
            <p:cNvPr id="72" name="Graphic 35">
              <a:extLst>
                <a:ext uri="{FF2B5EF4-FFF2-40B4-BE49-F238E27FC236}">
                  <a16:creationId xmlns:a16="http://schemas.microsoft.com/office/drawing/2014/main" id="{65E0BAB4-BB10-D11F-F051-9AD9AD57D8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36442" y="3831402"/>
              <a:ext cx="468000" cy="468000"/>
            </a:xfrm>
            <a:prstGeom prst="rect">
              <a:avLst/>
            </a:prstGeom>
          </p:spPr>
        </p:pic>
      </p:grpSp>
      <p:grpSp>
        <p:nvGrpSpPr>
          <p:cNvPr id="34" name="群組 33">
            <a:extLst>
              <a:ext uri="{FF2B5EF4-FFF2-40B4-BE49-F238E27FC236}">
                <a16:creationId xmlns:a16="http://schemas.microsoft.com/office/drawing/2014/main" id="{A1C464F8-C7C8-24DE-748A-C8069E51DD91}"/>
              </a:ext>
            </a:extLst>
          </p:cNvPr>
          <p:cNvGrpSpPr/>
          <p:nvPr/>
        </p:nvGrpSpPr>
        <p:grpSpPr>
          <a:xfrm>
            <a:off x="3652280" y="5376301"/>
            <a:ext cx="1836171" cy="468000"/>
            <a:chOff x="3611640" y="5565098"/>
            <a:chExt cx="1836171" cy="468000"/>
          </a:xfrm>
        </p:grpSpPr>
        <p:sp>
          <p:nvSpPr>
            <p:cNvPr id="69" name="文字方塊 31">
              <a:extLst>
                <a:ext uri="{FF2B5EF4-FFF2-40B4-BE49-F238E27FC236}">
                  <a16:creationId xmlns:a16="http://schemas.microsoft.com/office/drawing/2014/main" id="{96C27A8C-F3C7-38C8-F8A0-A6CB2958305F}"/>
                </a:ext>
              </a:extLst>
            </p:cNvPr>
            <p:cNvSpPr txBox="1"/>
            <p:nvPr/>
          </p:nvSpPr>
          <p:spPr>
            <a:xfrm>
              <a:off x="4071320" y="5578466"/>
              <a:ext cx="1376491" cy="44319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pPr>
              <a:r>
                <a:rPr kumimoji="1" lang="en-US" altLang="zh-TW" sz="1600" b="1">
                  <a:ea typeface="微軟正黑體"/>
                </a:rPr>
                <a:t>Raise </a:t>
              </a:r>
              <a:endParaRPr lang="zh-TW" altLang="en-US">
                <a:cs typeface="Arial" panose="020B0604020202020204"/>
              </a:endParaRPr>
            </a:p>
            <a:p>
              <a:pPr marL="71755">
                <a:lnSpc>
                  <a:spcPct val="90000"/>
                </a:lnSpc>
              </a:pPr>
              <a:r>
                <a:rPr kumimoji="1" lang="en-US" altLang="zh-TW" sz="1600" b="1">
                  <a:ea typeface="微軟正黑體"/>
                </a:rPr>
                <a:t>the price </a:t>
              </a:r>
              <a:endParaRPr lang="en-US">
                <a:cs typeface="Arial" panose="020B0604020202020204"/>
              </a:endParaRPr>
            </a:p>
          </p:txBody>
        </p:sp>
        <p:sp>
          <p:nvSpPr>
            <p:cNvPr id="70" name="Freeform: Shape 88">
              <a:extLst>
                <a:ext uri="{FF2B5EF4-FFF2-40B4-BE49-F238E27FC236}">
                  <a16:creationId xmlns:a16="http://schemas.microsoft.com/office/drawing/2014/main" id="{351D4ABE-0BE2-E85C-91DD-419CC1C6E6E4}"/>
                </a:ext>
              </a:extLst>
            </p:cNvPr>
            <p:cNvSpPr>
              <a:spLocks noChangeAspect="1"/>
            </p:cNvSpPr>
            <p:nvPr/>
          </p:nvSpPr>
          <p:spPr>
            <a:xfrm>
              <a:off x="3611640" y="5565098"/>
              <a:ext cx="468000" cy="468000"/>
            </a:xfrm>
            <a:custGeom>
              <a:avLst/>
              <a:gdLst>
                <a:gd name="connsiteX0" fmla="*/ 388112 w 754888"/>
                <a:gd name="connsiteY0" fmla="*/ 413385 h 705326"/>
                <a:gd name="connsiteX1" fmla="*/ 388112 w 754888"/>
                <a:gd name="connsiteY1" fmla="*/ 454819 h 705326"/>
                <a:gd name="connsiteX2" fmla="*/ 388366 w 754888"/>
                <a:gd name="connsiteY2" fmla="*/ 454819 h 705326"/>
                <a:gd name="connsiteX3" fmla="*/ 405384 w 754888"/>
                <a:gd name="connsiteY3" fmla="*/ 446722 h 705326"/>
                <a:gd name="connsiteX4" fmla="*/ 410718 w 754888"/>
                <a:gd name="connsiteY4" fmla="*/ 434102 h 705326"/>
                <a:gd name="connsiteX5" fmla="*/ 406146 w 754888"/>
                <a:gd name="connsiteY5" fmla="*/ 422910 h 705326"/>
                <a:gd name="connsiteX6" fmla="*/ 388112 w 754888"/>
                <a:gd name="connsiteY6" fmla="*/ 413385 h 705326"/>
                <a:gd name="connsiteX7" fmla="*/ 368300 w 754888"/>
                <a:gd name="connsiteY7" fmla="*/ 327898 h 705326"/>
                <a:gd name="connsiteX8" fmla="*/ 356108 w 754888"/>
                <a:gd name="connsiteY8" fmla="*/ 334566 h 705326"/>
                <a:gd name="connsiteX9" fmla="*/ 352552 w 754888"/>
                <a:gd name="connsiteY9" fmla="*/ 344091 h 705326"/>
                <a:gd name="connsiteX10" fmla="*/ 356108 w 754888"/>
                <a:gd name="connsiteY10" fmla="*/ 354092 h 705326"/>
                <a:gd name="connsiteX11" fmla="*/ 368300 w 754888"/>
                <a:gd name="connsiteY11" fmla="*/ 361235 h 705326"/>
                <a:gd name="connsiteX12" fmla="*/ 368300 w 754888"/>
                <a:gd name="connsiteY12" fmla="*/ 282178 h 705326"/>
                <a:gd name="connsiteX13" fmla="*/ 388366 w 754888"/>
                <a:gd name="connsiteY13" fmla="*/ 282178 h 705326"/>
                <a:gd name="connsiteX14" fmla="*/ 388366 w 754888"/>
                <a:gd name="connsiteY14" fmla="*/ 294799 h 705326"/>
                <a:gd name="connsiteX15" fmla="*/ 435356 w 754888"/>
                <a:gd name="connsiteY15" fmla="*/ 308372 h 705326"/>
                <a:gd name="connsiteX16" fmla="*/ 456692 w 754888"/>
                <a:gd name="connsiteY16" fmla="*/ 340995 h 705326"/>
                <a:gd name="connsiteX17" fmla="*/ 405638 w 754888"/>
                <a:gd name="connsiteY17" fmla="*/ 348615 h 705326"/>
                <a:gd name="connsiteX18" fmla="*/ 398780 w 754888"/>
                <a:gd name="connsiteY18" fmla="*/ 335994 h 705326"/>
                <a:gd name="connsiteX19" fmla="*/ 388620 w 754888"/>
                <a:gd name="connsiteY19" fmla="*/ 328851 h 705326"/>
                <a:gd name="connsiteX20" fmla="*/ 388620 w 754888"/>
                <a:gd name="connsiteY20" fmla="*/ 365998 h 705326"/>
                <a:gd name="connsiteX21" fmla="*/ 444500 w 754888"/>
                <a:gd name="connsiteY21" fmla="*/ 388144 h 705326"/>
                <a:gd name="connsiteX22" fmla="*/ 463042 w 754888"/>
                <a:gd name="connsiteY22" fmla="*/ 427672 h 705326"/>
                <a:gd name="connsiteX23" fmla="*/ 456438 w 754888"/>
                <a:gd name="connsiteY23" fmla="*/ 453390 h 705326"/>
                <a:gd name="connsiteX24" fmla="*/ 439420 w 754888"/>
                <a:gd name="connsiteY24" fmla="*/ 472916 h 705326"/>
                <a:gd name="connsiteX25" fmla="*/ 417322 w 754888"/>
                <a:gd name="connsiteY25" fmla="*/ 484346 h 705326"/>
                <a:gd name="connsiteX26" fmla="*/ 388620 w 754888"/>
                <a:gd name="connsiteY26" fmla="*/ 488632 h 705326"/>
                <a:gd name="connsiteX27" fmla="*/ 388620 w 754888"/>
                <a:gd name="connsiteY27" fmla="*/ 512921 h 705326"/>
                <a:gd name="connsiteX28" fmla="*/ 368300 w 754888"/>
                <a:gd name="connsiteY28" fmla="*/ 512921 h 705326"/>
                <a:gd name="connsiteX29" fmla="*/ 368300 w 754888"/>
                <a:gd name="connsiteY29" fmla="*/ 488632 h 705326"/>
                <a:gd name="connsiteX30" fmla="*/ 335534 w 754888"/>
                <a:gd name="connsiteY30" fmla="*/ 482441 h 705326"/>
                <a:gd name="connsiteX31" fmla="*/ 313944 w 754888"/>
                <a:gd name="connsiteY31" fmla="*/ 470059 h 705326"/>
                <a:gd name="connsiteX32" fmla="*/ 299974 w 754888"/>
                <a:gd name="connsiteY32" fmla="*/ 453152 h 705326"/>
                <a:gd name="connsiteX33" fmla="*/ 292608 w 754888"/>
                <a:gd name="connsiteY33" fmla="*/ 431244 h 705326"/>
                <a:gd name="connsiteX34" fmla="*/ 348234 w 754888"/>
                <a:gd name="connsiteY34" fmla="*/ 425291 h 705326"/>
                <a:gd name="connsiteX35" fmla="*/ 354838 w 754888"/>
                <a:gd name="connsiteY35" fmla="*/ 443627 h 705326"/>
                <a:gd name="connsiteX36" fmla="*/ 368554 w 754888"/>
                <a:gd name="connsiteY36" fmla="*/ 453628 h 705326"/>
                <a:gd name="connsiteX37" fmla="*/ 368554 w 754888"/>
                <a:gd name="connsiteY37" fmla="*/ 408146 h 705326"/>
                <a:gd name="connsiteX38" fmla="*/ 329184 w 754888"/>
                <a:gd name="connsiteY38" fmla="*/ 395526 h 705326"/>
                <a:gd name="connsiteX39" fmla="*/ 309118 w 754888"/>
                <a:gd name="connsiteY39" fmla="*/ 378619 h 705326"/>
                <a:gd name="connsiteX40" fmla="*/ 300482 w 754888"/>
                <a:gd name="connsiteY40" fmla="*/ 350282 h 705326"/>
                <a:gd name="connsiteX41" fmla="*/ 317500 w 754888"/>
                <a:gd name="connsiteY41" fmla="*/ 311944 h 705326"/>
                <a:gd name="connsiteX42" fmla="*/ 368300 w 754888"/>
                <a:gd name="connsiteY42" fmla="*/ 294799 h 705326"/>
                <a:gd name="connsiteX43" fmla="*/ 377444 w 754888"/>
                <a:gd name="connsiteY43" fmla="*/ 58578 h 705326"/>
                <a:gd name="connsiteX44" fmla="*/ 125984 w 754888"/>
                <a:gd name="connsiteY44" fmla="*/ 263604 h 705326"/>
                <a:gd name="connsiteX45" fmla="*/ 235966 w 754888"/>
                <a:gd name="connsiteY45" fmla="*/ 263604 h 705326"/>
                <a:gd name="connsiteX46" fmla="*/ 235966 w 754888"/>
                <a:gd name="connsiteY46" fmla="*/ 661035 h 705326"/>
                <a:gd name="connsiteX47" fmla="*/ 518922 w 754888"/>
                <a:gd name="connsiteY47" fmla="*/ 661035 h 705326"/>
                <a:gd name="connsiteX48" fmla="*/ 518922 w 754888"/>
                <a:gd name="connsiteY48" fmla="*/ 263604 h 705326"/>
                <a:gd name="connsiteX49" fmla="*/ 628904 w 754888"/>
                <a:gd name="connsiteY49" fmla="*/ 263604 h 705326"/>
                <a:gd name="connsiteX50" fmla="*/ 377444 w 754888"/>
                <a:gd name="connsiteY50" fmla="*/ 0 h 705326"/>
                <a:gd name="connsiteX51" fmla="*/ 754888 w 754888"/>
                <a:gd name="connsiteY51" fmla="*/ 307895 h 705326"/>
                <a:gd name="connsiteX52" fmla="*/ 566166 w 754888"/>
                <a:gd name="connsiteY52" fmla="*/ 307895 h 705326"/>
                <a:gd name="connsiteX53" fmla="*/ 566166 w 754888"/>
                <a:gd name="connsiteY53" fmla="*/ 705326 h 705326"/>
                <a:gd name="connsiteX54" fmla="*/ 188722 w 754888"/>
                <a:gd name="connsiteY54" fmla="*/ 705326 h 705326"/>
                <a:gd name="connsiteX55" fmla="*/ 188722 w 754888"/>
                <a:gd name="connsiteY55" fmla="*/ 307895 h 705326"/>
                <a:gd name="connsiteX56" fmla="*/ 0 w 754888"/>
                <a:gd name="connsiteY56" fmla="*/ 307895 h 70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54888" h="705326">
                  <a:moveTo>
                    <a:pt x="388112" y="413385"/>
                  </a:moveTo>
                  <a:lnTo>
                    <a:pt x="388112" y="454819"/>
                  </a:lnTo>
                  <a:lnTo>
                    <a:pt x="388366" y="454819"/>
                  </a:lnTo>
                  <a:cubicBezTo>
                    <a:pt x="396240" y="453152"/>
                    <a:pt x="401828" y="450532"/>
                    <a:pt x="405384" y="446722"/>
                  </a:cubicBezTo>
                  <a:cubicBezTo>
                    <a:pt x="408940" y="442912"/>
                    <a:pt x="410718" y="438864"/>
                    <a:pt x="410718" y="434102"/>
                  </a:cubicBezTo>
                  <a:cubicBezTo>
                    <a:pt x="410718" y="430054"/>
                    <a:pt x="409194" y="426244"/>
                    <a:pt x="406146" y="422910"/>
                  </a:cubicBezTo>
                  <a:cubicBezTo>
                    <a:pt x="403098" y="419576"/>
                    <a:pt x="397002" y="416242"/>
                    <a:pt x="388112" y="413385"/>
                  </a:cubicBezTo>
                  <a:close/>
                  <a:moveTo>
                    <a:pt x="368300" y="327898"/>
                  </a:moveTo>
                  <a:cubicBezTo>
                    <a:pt x="362458" y="329803"/>
                    <a:pt x="358394" y="331946"/>
                    <a:pt x="356108" y="334566"/>
                  </a:cubicBezTo>
                  <a:cubicBezTo>
                    <a:pt x="353822" y="337185"/>
                    <a:pt x="352552" y="340281"/>
                    <a:pt x="352552" y="344091"/>
                  </a:cubicBezTo>
                  <a:cubicBezTo>
                    <a:pt x="352552" y="347901"/>
                    <a:pt x="353822" y="351234"/>
                    <a:pt x="356108" y="354092"/>
                  </a:cubicBezTo>
                  <a:cubicBezTo>
                    <a:pt x="358394" y="356949"/>
                    <a:pt x="362458" y="359330"/>
                    <a:pt x="368300" y="361235"/>
                  </a:cubicBezTo>
                  <a:close/>
                  <a:moveTo>
                    <a:pt x="368300" y="282178"/>
                  </a:moveTo>
                  <a:lnTo>
                    <a:pt x="388366" y="282178"/>
                  </a:lnTo>
                  <a:lnTo>
                    <a:pt x="388366" y="294799"/>
                  </a:lnTo>
                  <a:cubicBezTo>
                    <a:pt x="408940" y="295989"/>
                    <a:pt x="424688" y="300514"/>
                    <a:pt x="435356" y="308372"/>
                  </a:cubicBezTo>
                  <a:cubicBezTo>
                    <a:pt x="446278" y="316230"/>
                    <a:pt x="453390" y="327184"/>
                    <a:pt x="456692" y="340995"/>
                  </a:cubicBezTo>
                  <a:lnTo>
                    <a:pt x="405638" y="348615"/>
                  </a:lnTo>
                  <a:cubicBezTo>
                    <a:pt x="403098" y="342424"/>
                    <a:pt x="400812" y="338376"/>
                    <a:pt x="398780" y="335994"/>
                  </a:cubicBezTo>
                  <a:cubicBezTo>
                    <a:pt x="396748" y="333613"/>
                    <a:pt x="393192" y="331232"/>
                    <a:pt x="388620" y="328851"/>
                  </a:cubicBezTo>
                  <a:lnTo>
                    <a:pt x="388620" y="365998"/>
                  </a:lnTo>
                  <a:cubicBezTo>
                    <a:pt x="416560" y="372904"/>
                    <a:pt x="435102" y="380286"/>
                    <a:pt x="444500" y="388144"/>
                  </a:cubicBezTo>
                  <a:cubicBezTo>
                    <a:pt x="456946" y="398621"/>
                    <a:pt x="463042" y="411718"/>
                    <a:pt x="463042" y="427672"/>
                  </a:cubicBezTo>
                  <a:cubicBezTo>
                    <a:pt x="463042" y="436959"/>
                    <a:pt x="460756" y="445532"/>
                    <a:pt x="456438" y="453390"/>
                  </a:cubicBezTo>
                  <a:cubicBezTo>
                    <a:pt x="451866" y="461248"/>
                    <a:pt x="446278" y="467677"/>
                    <a:pt x="439420" y="472916"/>
                  </a:cubicBezTo>
                  <a:cubicBezTo>
                    <a:pt x="432562" y="478155"/>
                    <a:pt x="425196" y="481965"/>
                    <a:pt x="417322" y="484346"/>
                  </a:cubicBezTo>
                  <a:cubicBezTo>
                    <a:pt x="409448" y="486727"/>
                    <a:pt x="400050" y="488156"/>
                    <a:pt x="388620" y="488632"/>
                  </a:cubicBezTo>
                  <a:lnTo>
                    <a:pt x="388620" y="512921"/>
                  </a:lnTo>
                  <a:lnTo>
                    <a:pt x="368300" y="512921"/>
                  </a:lnTo>
                  <a:lnTo>
                    <a:pt x="368300" y="488632"/>
                  </a:lnTo>
                  <a:cubicBezTo>
                    <a:pt x="354838" y="487442"/>
                    <a:pt x="343916" y="485537"/>
                    <a:pt x="335534" y="482441"/>
                  </a:cubicBezTo>
                  <a:cubicBezTo>
                    <a:pt x="327152" y="479346"/>
                    <a:pt x="320040" y="475297"/>
                    <a:pt x="313944" y="470059"/>
                  </a:cubicBezTo>
                  <a:cubicBezTo>
                    <a:pt x="307848" y="464820"/>
                    <a:pt x="303276" y="459105"/>
                    <a:pt x="299974" y="453152"/>
                  </a:cubicBezTo>
                  <a:cubicBezTo>
                    <a:pt x="296672" y="447199"/>
                    <a:pt x="294132" y="439817"/>
                    <a:pt x="292608" y="431244"/>
                  </a:cubicBezTo>
                  <a:lnTo>
                    <a:pt x="348234" y="425291"/>
                  </a:lnTo>
                  <a:cubicBezTo>
                    <a:pt x="349758" y="433864"/>
                    <a:pt x="352044" y="440055"/>
                    <a:pt x="354838" y="443627"/>
                  </a:cubicBezTo>
                  <a:cubicBezTo>
                    <a:pt x="357632" y="447437"/>
                    <a:pt x="362204" y="450771"/>
                    <a:pt x="368554" y="453628"/>
                  </a:cubicBezTo>
                  <a:lnTo>
                    <a:pt x="368554" y="408146"/>
                  </a:lnTo>
                  <a:cubicBezTo>
                    <a:pt x="350012" y="403384"/>
                    <a:pt x="336804" y="399097"/>
                    <a:pt x="329184" y="395526"/>
                  </a:cubicBezTo>
                  <a:cubicBezTo>
                    <a:pt x="321564" y="391954"/>
                    <a:pt x="314706" y="386239"/>
                    <a:pt x="309118" y="378619"/>
                  </a:cubicBezTo>
                  <a:cubicBezTo>
                    <a:pt x="303530" y="370761"/>
                    <a:pt x="300482" y="361474"/>
                    <a:pt x="300482" y="350282"/>
                  </a:cubicBezTo>
                  <a:cubicBezTo>
                    <a:pt x="300482" y="335042"/>
                    <a:pt x="306070" y="322183"/>
                    <a:pt x="317500" y="311944"/>
                  </a:cubicBezTo>
                  <a:cubicBezTo>
                    <a:pt x="328930" y="301704"/>
                    <a:pt x="345948" y="295989"/>
                    <a:pt x="368300" y="294799"/>
                  </a:cubicBezTo>
                  <a:close/>
                  <a:moveTo>
                    <a:pt x="377444" y="58578"/>
                  </a:moveTo>
                  <a:lnTo>
                    <a:pt x="125984" y="263604"/>
                  </a:lnTo>
                  <a:lnTo>
                    <a:pt x="235966" y="263604"/>
                  </a:lnTo>
                  <a:lnTo>
                    <a:pt x="235966" y="661035"/>
                  </a:lnTo>
                  <a:lnTo>
                    <a:pt x="518922" y="661035"/>
                  </a:lnTo>
                  <a:lnTo>
                    <a:pt x="518922" y="263604"/>
                  </a:lnTo>
                  <a:lnTo>
                    <a:pt x="628904" y="263604"/>
                  </a:lnTo>
                  <a:close/>
                  <a:moveTo>
                    <a:pt x="377444" y="0"/>
                  </a:moveTo>
                  <a:lnTo>
                    <a:pt x="754888" y="307895"/>
                  </a:lnTo>
                  <a:lnTo>
                    <a:pt x="566166" y="307895"/>
                  </a:lnTo>
                  <a:lnTo>
                    <a:pt x="566166" y="705326"/>
                  </a:lnTo>
                  <a:lnTo>
                    <a:pt x="188722" y="705326"/>
                  </a:lnTo>
                  <a:lnTo>
                    <a:pt x="188722" y="307895"/>
                  </a:lnTo>
                  <a:lnTo>
                    <a:pt x="0" y="307895"/>
                  </a:lnTo>
                  <a:close/>
                </a:path>
              </a:pathLst>
            </a:custGeom>
            <a:solidFill>
              <a:srgbClr val="7823DC"/>
            </a:solidFill>
            <a:ln w="254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en-US" sz="600"/>
            </a:p>
          </p:txBody>
        </p:sp>
      </p:grpSp>
      <p:grpSp>
        <p:nvGrpSpPr>
          <p:cNvPr id="35" name="群組 34">
            <a:extLst>
              <a:ext uri="{FF2B5EF4-FFF2-40B4-BE49-F238E27FC236}">
                <a16:creationId xmlns:a16="http://schemas.microsoft.com/office/drawing/2014/main" id="{5F31DE07-2ED5-1F63-D938-51797B63578D}"/>
              </a:ext>
            </a:extLst>
          </p:cNvPr>
          <p:cNvGrpSpPr/>
          <p:nvPr/>
        </p:nvGrpSpPr>
        <p:grpSpPr>
          <a:xfrm>
            <a:off x="8778506" y="3565311"/>
            <a:ext cx="2258455" cy="678165"/>
            <a:chOff x="8727706" y="3707222"/>
            <a:chExt cx="2258455" cy="678165"/>
          </a:xfrm>
        </p:grpSpPr>
        <p:sp>
          <p:nvSpPr>
            <p:cNvPr id="67" name="文字方塊 40">
              <a:extLst>
                <a:ext uri="{FF2B5EF4-FFF2-40B4-BE49-F238E27FC236}">
                  <a16:creationId xmlns:a16="http://schemas.microsoft.com/office/drawing/2014/main" id="{CD8F8443-D870-FBD4-926F-D0F7AF60363D}"/>
                </a:ext>
              </a:extLst>
            </p:cNvPr>
            <p:cNvSpPr txBox="1"/>
            <p:nvPr/>
          </p:nvSpPr>
          <p:spPr>
            <a:xfrm>
              <a:off x="9340787" y="3720590"/>
              <a:ext cx="1645374" cy="66479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pPr>
              <a:r>
                <a:rPr lang="en-US" altLang="zh-TW" sz="1600" b="1">
                  <a:ea typeface="+mn-lt"/>
                  <a:cs typeface="+mn-lt"/>
                </a:rPr>
                <a:t>Understanding</a:t>
              </a:r>
            </a:p>
            <a:p>
              <a:pPr marL="71755">
                <a:lnSpc>
                  <a:spcPct val="90000"/>
                </a:lnSpc>
              </a:pPr>
              <a:r>
                <a:rPr lang="en-US" altLang="zh-TW" sz="1600" b="1">
                  <a:ea typeface="+mn-lt"/>
                  <a:cs typeface="+mn-lt"/>
                </a:rPr>
                <a:t>Customer </a:t>
              </a:r>
            </a:p>
            <a:p>
              <a:pPr marL="71755">
                <a:lnSpc>
                  <a:spcPct val="90000"/>
                </a:lnSpc>
              </a:pPr>
              <a:r>
                <a:rPr lang="en-US" altLang="zh-TW" sz="1600" b="1">
                  <a:ea typeface="+mn-lt"/>
                  <a:cs typeface="+mn-lt"/>
                </a:rPr>
                <a:t>Feedback</a:t>
              </a:r>
              <a:endParaRPr lang="en-US"/>
            </a:p>
          </p:txBody>
        </p:sp>
        <p:pic>
          <p:nvPicPr>
            <p:cNvPr id="68" name="Graphic 259">
              <a:extLst>
                <a:ext uri="{FF2B5EF4-FFF2-40B4-BE49-F238E27FC236}">
                  <a16:creationId xmlns:a16="http://schemas.microsoft.com/office/drawing/2014/main" id="{FC34CCA9-DE46-B76E-120F-1A7227E6BF9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27706" y="3707222"/>
              <a:ext cx="467025" cy="468000"/>
            </a:xfrm>
            <a:prstGeom prst="rect">
              <a:avLst/>
            </a:prstGeom>
          </p:spPr>
        </p:pic>
      </p:grpSp>
      <p:sp>
        <p:nvSpPr>
          <p:cNvPr id="37" name="文字方塊 45">
            <a:extLst>
              <a:ext uri="{FF2B5EF4-FFF2-40B4-BE49-F238E27FC236}">
                <a16:creationId xmlns:a16="http://schemas.microsoft.com/office/drawing/2014/main" id="{3613392B-D51D-86EA-5416-2459427893E7}"/>
              </a:ext>
            </a:extLst>
          </p:cNvPr>
          <p:cNvSpPr txBox="1"/>
          <p:nvPr/>
        </p:nvSpPr>
        <p:spPr>
          <a:xfrm>
            <a:off x="3429000" y="2754681"/>
            <a:ext cx="8382000" cy="221599"/>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spcAft>
                <a:spcPts val="600"/>
              </a:spcAft>
            </a:pPr>
            <a:r>
              <a:rPr lang="en-US" altLang="zh-TW" sz="1600" b="1">
                <a:solidFill>
                  <a:schemeClr val="tx2"/>
                </a:solidFill>
                <a:ea typeface="微軟正黑體"/>
                <a:cs typeface="Arial" panose="020B0604020202020204"/>
              </a:rPr>
              <a:t>2. Potential next steps</a:t>
            </a:r>
          </a:p>
        </p:txBody>
      </p:sp>
      <p:grpSp>
        <p:nvGrpSpPr>
          <p:cNvPr id="39" name="群組 38">
            <a:extLst>
              <a:ext uri="{FF2B5EF4-FFF2-40B4-BE49-F238E27FC236}">
                <a16:creationId xmlns:a16="http://schemas.microsoft.com/office/drawing/2014/main" id="{04DB26D1-F63A-4948-8AA2-B83C31545EB0}"/>
              </a:ext>
            </a:extLst>
          </p:cNvPr>
          <p:cNvGrpSpPr/>
          <p:nvPr/>
        </p:nvGrpSpPr>
        <p:grpSpPr>
          <a:xfrm>
            <a:off x="9954127" y="5376301"/>
            <a:ext cx="1788380" cy="674824"/>
            <a:chOff x="9994767" y="5558852"/>
            <a:chExt cx="1788380" cy="674824"/>
          </a:xfrm>
        </p:grpSpPr>
        <p:sp>
          <p:nvSpPr>
            <p:cNvPr id="65" name="文字方塊 52">
              <a:extLst>
                <a:ext uri="{FF2B5EF4-FFF2-40B4-BE49-F238E27FC236}">
                  <a16:creationId xmlns:a16="http://schemas.microsoft.com/office/drawing/2014/main" id="{68D5D182-2E89-6E97-EFA1-13A491992283}"/>
                </a:ext>
              </a:extLst>
            </p:cNvPr>
            <p:cNvSpPr txBox="1"/>
            <p:nvPr/>
          </p:nvSpPr>
          <p:spPr>
            <a:xfrm>
              <a:off x="10412613" y="5568879"/>
              <a:ext cx="1370534" cy="66479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pPr>
              <a:r>
                <a:rPr lang="en-US" altLang="zh-TW" sz="1600" b="1">
                  <a:ea typeface="+mn-lt"/>
                  <a:cs typeface="+mn-lt"/>
                </a:rPr>
                <a:t>Encouraging </a:t>
              </a:r>
            </a:p>
            <a:p>
              <a:pPr marL="71755">
                <a:lnSpc>
                  <a:spcPct val="90000"/>
                </a:lnSpc>
              </a:pPr>
              <a:r>
                <a:rPr lang="en-US" altLang="zh-TW" sz="1600" b="1">
                  <a:ea typeface="+mn-lt"/>
                  <a:cs typeface="+mn-lt"/>
                </a:rPr>
                <a:t>Positive </a:t>
              </a:r>
            </a:p>
            <a:p>
              <a:pPr marL="71755">
                <a:lnSpc>
                  <a:spcPct val="90000"/>
                </a:lnSpc>
              </a:pPr>
              <a:r>
                <a:rPr lang="en-US" altLang="zh-TW" sz="1600" b="1">
                  <a:ea typeface="+mn-lt"/>
                  <a:cs typeface="+mn-lt"/>
                </a:rPr>
                <a:t>Reviews</a:t>
              </a:r>
              <a:endParaRPr lang="en-US"/>
            </a:p>
          </p:txBody>
        </p:sp>
        <p:pic>
          <p:nvPicPr>
            <p:cNvPr id="66" name="Graphic 47">
              <a:extLst>
                <a:ext uri="{FF2B5EF4-FFF2-40B4-BE49-F238E27FC236}">
                  <a16:creationId xmlns:a16="http://schemas.microsoft.com/office/drawing/2014/main" id="{3A30090C-ED5D-BDAC-24FF-35F2B7330C0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94767" y="5558852"/>
              <a:ext cx="468000" cy="468000"/>
            </a:xfrm>
            <a:prstGeom prst="rect">
              <a:avLst/>
            </a:prstGeom>
          </p:spPr>
        </p:pic>
      </p:grpSp>
      <p:grpSp>
        <p:nvGrpSpPr>
          <p:cNvPr id="40" name="群組 39">
            <a:extLst>
              <a:ext uri="{FF2B5EF4-FFF2-40B4-BE49-F238E27FC236}">
                <a16:creationId xmlns:a16="http://schemas.microsoft.com/office/drawing/2014/main" id="{2CAC1193-644C-84BD-5F77-726DC0BD886E}"/>
              </a:ext>
            </a:extLst>
          </p:cNvPr>
          <p:cNvGrpSpPr/>
          <p:nvPr/>
        </p:nvGrpSpPr>
        <p:grpSpPr>
          <a:xfrm>
            <a:off x="5623154" y="5376301"/>
            <a:ext cx="1879546" cy="468000"/>
            <a:chOff x="5623154" y="5565098"/>
            <a:chExt cx="1879546" cy="468000"/>
          </a:xfrm>
        </p:grpSpPr>
        <p:sp>
          <p:nvSpPr>
            <p:cNvPr id="63" name="文字方塊 8">
              <a:extLst>
                <a:ext uri="{FF2B5EF4-FFF2-40B4-BE49-F238E27FC236}">
                  <a16:creationId xmlns:a16="http://schemas.microsoft.com/office/drawing/2014/main" id="{7FD36AAE-B31B-0383-3844-6DAC6309C8BF}"/>
                </a:ext>
              </a:extLst>
            </p:cNvPr>
            <p:cNvSpPr txBox="1"/>
            <p:nvPr/>
          </p:nvSpPr>
          <p:spPr>
            <a:xfrm>
              <a:off x="6129220" y="5578466"/>
              <a:ext cx="1373480" cy="44319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755">
                <a:lnSpc>
                  <a:spcPct val="90000"/>
                </a:lnSpc>
              </a:pPr>
              <a:r>
                <a:rPr kumimoji="1" lang="en-US" altLang="zh-TW" sz="1600" b="1">
                  <a:ea typeface="微軟正黑體"/>
                </a:rPr>
                <a:t>Reduce </a:t>
              </a:r>
              <a:endParaRPr lang="zh-TW" altLang="en-US">
                <a:cs typeface="Arial" panose="020B0604020202020204"/>
              </a:endParaRPr>
            </a:p>
            <a:p>
              <a:pPr marL="71755">
                <a:lnSpc>
                  <a:spcPct val="90000"/>
                </a:lnSpc>
              </a:pPr>
              <a:r>
                <a:rPr kumimoji="1" lang="en-US" altLang="zh-TW" sz="1600" b="1">
                  <a:ea typeface="微軟正黑體"/>
                </a:rPr>
                <a:t>the price </a:t>
              </a:r>
              <a:endParaRPr lang="en-US">
                <a:cs typeface="Arial" panose="020B0604020202020204"/>
              </a:endParaRPr>
            </a:p>
          </p:txBody>
        </p:sp>
        <p:pic>
          <p:nvPicPr>
            <p:cNvPr id="64" name="Graphic 92">
              <a:extLst>
                <a:ext uri="{FF2B5EF4-FFF2-40B4-BE49-F238E27FC236}">
                  <a16:creationId xmlns:a16="http://schemas.microsoft.com/office/drawing/2014/main" id="{C42C4223-295B-5938-5CDC-4826746C170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23154" y="5565098"/>
              <a:ext cx="468000" cy="468000"/>
            </a:xfrm>
            <a:prstGeom prst="rect">
              <a:avLst/>
            </a:prstGeom>
          </p:spPr>
        </p:pic>
      </p:grpSp>
      <p:sp>
        <p:nvSpPr>
          <p:cNvPr id="45" name="矩形 44">
            <a:extLst>
              <a:ext uri="{FF2B5EF4-FFF2-40B4-BE49-F238E27FC236}">
                <a16:creationId xmlns:a16="http://schemas.microsoft.com/office/drawing/2014/main" id="{04C3C471-163B-A5F6-6495-B1069D4FBEF8}"/>
              </a:ext>
            </a:extLst>
          </p:cNvPr>
          <p:cNvSpPr/>
          <p:nvPr/>
        </p:nvSpPr>
        <p:spPr>
          <a:xfrm>
            <a:off x="3429001" y="3467925"/>
            <a:ext cx="3809999" cy="2628075"/>
          </a:xfrm>
          <a:prstGeom prst="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zh-TW" altLang="en-US" sz="1400">
              <a:solidFill>
                <a:schemeClr val="tx1"/>
              </a:solidFill>
            </a:endParaRPr>
          </a:p>
        </p:txBody>
      </p:sp>
      <p:sp>
        <p:nvSpPr>
          <p:cNvPr id="54" name="TextBox 37">
            <a:extLst>
              <a:ext uri="{FF2B5EF4-FFF2-40B4-BE49-F238E27FC236}">
                <a16:creationId xmlns:a16="http://schemas.microsoft.com/office/drawing/2014/main" id="{77E56297-187B-11B5-721B-126233CE74D7}"/>
              </a:ext>
            </a:extLst>
          </p:cNvPr>
          <p:cNvSpPr txBox="1"/>
          <p:nvPr/>
        </p:nvSpPr>
        <p:spPr>
          <a:xfrm>
            <a:off x="3429000" y="6361230"/>
            <a:ext cx="1045158" cy="9695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0000"/>
              </a:lnSpc>
            </a:pPr>
            <a:r>
              <a:rPr lang="en-US" sz="700"/>
              <a:t>Source : Market Research</a:t>
            </a:r>
          </a:p>
        </p:txBody>
      </p:sp>
      <p:sp>
        <p:nvSpPr>
          <p:cNvPr id="55" name="箭號: 上彎 54">
            <a:extLst>
              <a:ext uri="{FF2B5EF4-FFF2-40B4-BE49-F238E27FC236}">
                <a16:creationId xmlns:a16="http://schemas.microsoft.com/office/drawing/2014/main" id="{83C1DBE2-923E-E1EE-D602-F20FD3DF5206}"/>
              </a:ext>
            </a:extLst>
          </p:cNvPr>
          <p:cNvSpPr/>
          <p:nvPr/>
        </p:nvSpPr>
        <p:spPr>
          <a:xfrm rot="10800000">
            <a:off x="4117648" y="4587722"/>
            <a:ext cx="1224000" cy="706537"/>
          </a:xfrm>
          <a:prstGeom prst="bentUp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zh-TW" altLang="en-US" sz="1400" err="1">
              <a:solidFill>
                <a:schemeClr val="tx1"/>
              </a:solidFill>
            </a:endParaRPr>
          </a:p>
        </p:txBody>
      </p:sp>
      <p:sp>
        <p:nvSpPr>
          <p:cNvPr id="56" name="箭號: 上彎 55">
            <a:extLst>
              <a:ext uri="{FF2B5EF4-FFF2-40B4-BE49-F238E27FC236}">
                <a16:creationId xmlns:a16="http://schemas.microsoft.com/office/drawing/2014/main" id="{74D9AF22-A0CB-2B04-32AD-9BA9FE6FDAB3}"/>
              </a:ext>
            </a:extLst>
          </p:cNvPr>
          <p:cNvSpPr/>
          <p:nvPr/>
        </p:nvSpPr>
        <p:spPr>
          <a:xfrm rot="10800000" flipH="1">
            <a:off x="5341649" y="4587722"/>
            <a:ext cx="1224000" cy="702000"/>
          </a:xfrm>
          <a:prstGeom prst="bentUp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zh-TW" altLang="en-US" sz="1400" err="1">
              <a:solidFill>
                <a:schemeClr val="tx1"/>
              </a:solidFill>
            </a:endParaRPr>
          </a:p>
        </p:txBody>
      </p:sp>
      <p:sp>
        <p:nvSpPr>
          <p:cNvPr id="57" name="箭號: 上彎 56">
            <a:extLst>
              <a:ext uri="{FF2B5EF4-FFF2-40B4-BE49-F238E27FC236}">
                <a16:creationId xmlns:a16="http://schemas.microsoft.com/office/drawing/2014/main" id="{2916EF47-4B84-8599-216E-4EB80EC538FD}"/>
              </a:ext>
            </a:extLst>
          </p:cNvPr>
          <p:cNvSpPr/>
          <p:nvPr/>
        </p:nvSpPr>
        <p:spPr>
          <a:xfrm rot="10800000">
            <a:off x="8678481" y="4569784"/>
            <a:ext cx="1224000" cy="706537"/>
          </a:xfrm>
          <a:prstGeom prst="bentUp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zh-TW" altLang="en-US" sz="1400" err="1">
              <a:solidFill>
                <a:schemeClr val="tx1"/>
              </a:solidFill>
            </a:endParaRPr>
          </a:p>
        </p:txBody>
      </p:sp>
      <p:sp>
        <p:nvSpPr>
          <p:cNvPr id="58" name="箭號: 上彎 57">
            <a:extLst>
              <a:ext uri="{FF2B5EF4-FFF2-40B4-BE49-F238E27FC236}">
                <a16:creationId xmlns:a16="http://schemas.microsoft.com/office/drawing/2014/main" id="{C468F22F-CA07-119F-BE0D-75CC638324FF}"/>
              </a:ext>
            </a:extLst>
          </p:cNvPr>
          <p:cNvSpPr/>
          <p:nvPr/>
        </p:nvSpPr>
        <p:spPr>
          <a:xfrm rot="10800000" flipH="1">
            <a:off x="9902482" y="4569784"/>
            <a:ext cx="1224000" cy="702000"/>
          </a:xfrm>
          <a:prstGeom prst="bentUp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zh-TW" altLang="en-US" sz="1400" err="1">
              <a:solidFill>
                <a:schemeClr val="tx1"/>
              </a:solidFill>
            </a:endParaRPr>
          </a:p>
        </p:txBody>
      </p:sp>
      <p:sp>
        <p:nvSpPr>
          <p:cNvPr id="59" name="矩形 58">
            <a:extLst>
              <a:ext uri="{FF2B5EF4-FFF2-40B4-BE49-F238E27FC236}">
                <a16:creationId xmlns:a16="http://schemas.microsoft.com/office/drawing/2014/main" id="{14D28003-1E0E-44F6-408E-37C53BE35A6D}"/>
              </a:ext>
            </a:extLst>
          </p:cNvPr>
          <p:cNvSpPr/>
          <p:nvPr/>
        </p:nvSpPr>
        <p:spPr>
          <a:xfrm>
            <a:off x="5246914" y="4278310"/>
            <a:ext cx="180000" cy="46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kumimoji="1" lang="zh-TW" altLang="en-US" sz="1400" err="1">
              <a:solidFill>
                <a:schemeClr val="tx1"/>
              </a:solidFill>
            </a:endParaRPr>
          </a:p>
        </p:txBody>
      </p:sp>
      <p:sp>
        <p:nvSpPr>
          <p:cNvPr id="60" name="矩形 59">
            <a:extLst>
              <a:ext uri="{FF2B5EF4-FFF2-40B4-BE49-F238E27FC236}">
                <a16:creationId xmlns:a16="http://schemas.microsoft.com/office/drawing/2014/main" id="{DBA1E0B7-FB14-15F1-B9D3-6023A6D58CE3}"/>
              </a:ext>
            </a:extLst>
          </p:cNvPr>
          <p:cNvSpPr/>
          <p:nvPr/>
        </p:nvSpPr>
        <p:spPr>
          <a:xfrm>
            <a:off x="9870223" y="4267423"/>
            <a:ext cx="180000" cy="46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kumimoji="1" lang="zh-TW" altLang="en-US" sz="1400" err="1">
              <a:solidFill>
                <a:schemeClr val="tx1"/>
              </a:solidFill>
            </a:endParaRPr>
          </a:p>
        </p:txBody>
      </p:sp>
      <p:sp>
        <p:nvSpPr>
          <p:cNvPr id="61" name="矩形 60">
            <a:extLst>
              <a:ext uri="{FF2B5EF4-FFF2-40B4-BE49-F238E27FC236}">
                <a16:creationId xmlns:a16="http://schemas.microsoft.com/office/drawing/2014/main" id="{0254940D-6750-9B96-E5AE-1FF8E5A7222C}"/>
              </a:ext>
            </a:extLst>
          </p:cNvPr>
          <p:cNvSpPr/>
          <p:nvPr/>
        </p:nvSpPr>
        <p:spPr>
          <a:xfrm>
            <a:off x="8001000" y="3467925"/>
            <a:ext cx="3810000" cy="2628075"/>
          </a:xfrm>
          <a:prstGeom prst="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zh-TW" altLang="en-US" sz="1400">
              <a:solidFill>
                <a:schemeClr val="tx1"/>
              </a:solidFill>
            </a:endParaRPr>
          </a:p>
        </p:txBody>
      </p:sp>
      <p:sp>
        <p:nvSpPr>
          <p:cNvPr id="62" name="向右箭號 34">
            <a:extLst>
              <a:ext uri="{FF2B5EF4-FFF2-40B4-BE49-F238E27FC236}">
                <a16:creationId xmlns:a16="http://schemas.microsoft.com/office/drawing/2014/main" id="{62D6DE28-A9FB-9B40-C65D-F230A7008AF6}"/>
              </a:ext>
            </a:extLst>
          </p:cNvPr>
          <p:cNvSpPr/>
          <p:nvPr/>
        </p:nvSpPr>
        <p:spPr>
          <a:xfrm>
            <a:off x="6576000" y="3732655"/>
            <a:ext cx="2088000" cy="324000"/>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kumimoji="1" lang="zh-TW" altLang="en-US" sz="1400" err="1">
              <a:solidFill>
                <a:schemeClr val="tx1"/>
              </a:solidFill>
            </a:endParaRPr>
          </a:p>
        </p:txBody>
      </p:sp>
      <p:sp>
        <p:nvSpPr>
          <p:cNvPr id="4" name="Title 3">
            <a:extLst>
              <a:ext uri="{FF2B5EF4-FFF2-40B4-BE49-F238E27FC236}">
                <a16:creationId xmlns:a16="http://schemas.microsoft.com/office/drawing/2014/main" id="{D2C16D61-D956-7857-0620-A6F011C26C61}"/>
              </a:ext>
            </a:extLst>
          </p:cNvPr>
          <p:cNvSpPr>
            <a:spLocks noGrp="1"/>
          </p:cNvSpPr>
          <p:nvPr>
            <p:ph type="title"/>
          </p:nvPr>
        </p:nvSpPr>
        <p:spPr/>
        <p:txBody>
          <a:bodyPr vert="horz"/>
          <a:lstStyle/>
          <a:p>
            <a:r>
              <a:rPr lang="en-US"/>
              <a:t>Strategies for </a:t>
            </a:r>
            <a:br>
              <a:rPr lang="en-US"/>
            </a:br>
            <a:r>
              <a:rPr lang="en-US"/>
              <a:t>e-commerce:</a:t>
            </a:r>
            <a:br>
              <a:rPr lang="en-US"/>
            </a:br>
            <a:r>
              <a:rPr lang="en-US"/>
              <a:t>Enhancing product appeal by better pricing &amp; rating</a:t>
            </a:r>
            <a:br>
              <a:rPr lang="en-US"/>
            </a:br>
            <a:endParaRPr lang="en-US"/>
          </a:p>
        </p:txBody>
      </p:sp>
      <p:sp>
        <p:nvSpPr>
          <p:cNvPr id="6" name="Rectangle 5">
            <a:extLst>
              <a:ext uri="{FF2B5EF4-FFF2-40B4-BE49-F238E27FC236}">
                <a16:creationId xmlns:a16="http://schemas.microsoft.com/office/drawing/2014/main" id="{E5E66903-C374-4984-0358-D84177A4D8E6}"/>
              </a:ext>
            </a:extLst>
          </p:cNvPr>
          <p:cNvSpPr/>
          <p:nvPr/>
        </p:nvSpPr>
        <p:spPr>
          <a:xfrm>
            <a:off x="3048000" y="762000"/>
            <a:ext cx="4572000" cy="1905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384048" rIns="384048" bIns="384048" rtlCol="0" anchor="t"/>
          <a:lstStyle/>
          <a:p>
            <a:pPr algn="l">
              <a:lnSpc>
                <a:spcPct val="90000"/>
              </a:lnSpc>
            </a:pPr>
            <a:r>
              <a:rPr lang="en-US" sz="1600" b="1">
                <a:solidFill>
                  <a:schemeClr val="tx1"/>
                </a:solidFill>
              </a:rPr>
              <a:t>What factors influence consumers decides to purchase when they visit the product page?</a:t>
            </a:r>
          </a:p>
        </p:txBody>
      </p:sp>
      <p:sp>
        <p:nvSpPr>
          <p:cNvPr id="7" name="Rectangle 6">
            <a:extLst>
              <a:ext uri="{FF2B5EF4-FFF2-40B4-BE49-F238E27FC236}">
                <a16:creationId xmlns:a16="http://schemas.microsoft.com/office/drawing/2014/main" id="{734DE97B-746E-522E-D68E-930FAF14D800}"/>
              </a:ext>
            </a:extLst>
          </p:cNvPr>
          <p:cNvSpPr/>
          <p:nvPr/>
        </p:nvSpPr>
        <p:spPr>
          <a:xfrm>
            <a:off x="7620000" y="762000"/>
            <a:ext cx="4572000" cy="1905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384048" rIns="384048" bIns="384048" rtlCol="0" anchor="t"/>
          <a:lstStyle/>
          <a:p>
            <a:pPr algn="l">
              <a:lnSpc>
                <a:spcPct val="90000"/>
              </a:lnSpc>
            </a:pPr>
            <a:r>
              <a:rPr lang="en-US" sz="1600" b="1">
                <a:solidFill>
                  <a:schemeClr val="tx1"/>
                </a:solidFill>
              </a:rPr>
              <a:t>If consumers compare our product to that of a competitor, which one will they choose?</a:t>
            </a:r>
            <a:endParaRPr lang="en-US" sz="1600" b="1" err="1">
              <a:solidFill>
                <a:schemeClr val="tx1"/>
              </a:solidFill>
            </a:endParaRPr>
          </a:p>
        </p:txBody>
      </p:sp>
      <p:sp>
        <p:nvSpPr>
          <p:cNvPr id="14" name="TextBox 13">
            <a:extLst>
              <a:ext uri="{FF2B5EF4-FFF2-40B4-BE49-F238E27FC236}">
                <a16:creationId xmlns:a16="http://schemas.microsoft.com/office/drawing/2014/main" id="{FAF738B2-D319-0035-B3C1-E3ED9D024E49}"/>
              </a:ext>
            </a:extLst>
          </p:cNvPr>
          <p:cNvSpPr txBox="1"/>
          <p:nvPr/>
        </p:nvSpPr>
        <p:spPr>
          <a:xfrm>
            <a:off x="3429000" y="900898"/>
            <a:ext cx="381000" cy="1592744"/>
          </a:xfrm>
          <a:prstGeom prst="rect">
            <a:avLst/>
          </a:prstGeom>
          <a:noFill/>
        </p:spPr>
        <p:txBody>
          <a:bodyPr wrap="square" lIns="0" tIns="0" rIns="0" bIns="0" rtlCol="0">
            <a:spAutoFit/>
          </a:bodyPr>
          <a:lstStyle/>
          <a:p>
            <a:pPr algn="ctr">
              <a:lnSpc>
                <a:spcPct val="90000"/>
              </a:lnSpc>
            </a:pPr>
            <a:r>
              <a:rPr lang="en-US" sz="11500">
                <a:solidFill>
                  <a:schemeClr val="accent5"/>
                </a:solidFill>
              </a:rPr>
              <a:t>1</a:t>
            </a:r>
            <a:endParaRPr lang="en-US" sz="1400">
              <a:solidFill>
                <a:schemeClr val="accent5"/>
              </a:solidFill>
            </a:endParaRPr>
          </a:p>
        </p:txBody>
      </p:sp>
      <p:sp>
        <p:nvSpPr>
          <p:cNvPr id="15" name="TextBox 14">
            <a:extLst>
              <a:ext uri="{FF2B5EF4-FFF2-40B4-BE49-F238E27FC236}">
                <a16:creationId xmlns:a16="http://schemas.microsoft.com/office/drawing/2014/main" id="{FAB8AD4F-18FB-9CEF-2A84-BB9A2E60F530}"/>
              </a:ext>
            </a:extLst>
          </p:cNvPr>
          <p:cNvSpPr txBox="1"/>
          <p:nvPr/>
        </p:nvSpPr>
        <p:spPr>
          <a:xfrm>
            <a:off x="8001000" y="900898"/>
            <a:ext cx="381000" cy="1592744"/>
          </a:xfrm>
          <a:prstGeom prst="rect">
            <a:avLst/>
          </a:prstGeom>
          <a:noFill/>
        </p:spPr>
        <p:txBody>
          <a:bodyPr wrap="square" lIns="0" tIns="0" rIns="0" bIns="0" rtlCol="0">
            <a:spAutoFit/>
          </a:bodyPr>
          <a:lstStyle/>
          <a:p>
            <a:pPr algn="ctr">
              <a:lnSpc>
                <a:spcPct val="90000"/>
              </a:lnSpc>
            </a:pPr>
            <a:r>
              <a:rPr lang="en-US" sz="11500">
                <a:solidFill>
                  <a:schemeClr val="accent5"/>
                </a:solidFill>
              </a:rPr>
              <a:t>2</a:t>
            </a:r>
            <a:endParaRPr lang="en-US" sz="1400">
              <a:solidFill>
                <a:schemeClr val="accent5"/>
              </a:solidFill>
            </a:endParaRPr>
          </a:p>
        </p:txBody>
      </p:sp>
      <p:sp>
        <p:nvSpPr>
          <p:cNvPr id="2" name="TextBox 1">
            <a:extLst>
              <a:ext uri="{FF2B5EF4-FFF2-40B4-BE49-F238E27FC236}">
                <a16:creationId xmlns:a16="http://schemas.microsoft.com/office/drawing/2014/main" id="{CDA93D0A-5742-8AB5-05C8-0DD23EDEB217}"/>
              </a:ext>
            </a:extLst>
          </p:cNvPr>
          <p:cNvSpPr txBox="1"/>
          <p:nvPr/>
        </p:nvSpPr>
        <p:spPr>
          <a:xfrm>
            <a:off x="381000" y="3429000"/>
            <a:ext cx="2286000" cy="457200"/>
          </a:xfrm>
          <a:prstGeom prst="rect">
            <a:avLst/>
          </a:prstGeom>
          <a:noFill/>
          <a:ln w="6350">
            <a:noFill/>
          </a:ln>
          <a:extLst>
            <a:ext uri="{91240B29-F687-4F45-9708-019B960494DF}">
              <a14:hiddenLine xmlns:a14="http://schemas.microsoft.com/office/drawing/2010/main" w="6350">
                <a:solidFill>
                  <a:schemeClr val="tx1"/>
                </a:solidFill>
              </a14:hiddenLine>
            </a:ext>
          </a:extLst>
        </p:spPr>
        <p:txBody>
          <a:bodyPr wrap="square" lIns="0" tIns="0" rIns="0" bIns="0" rtlCol="0" anchor="t" anchorCtr="0">
            <a:noAutofit/>
          </a:bodyPr>
          <a:lstStyle/>
          <a:p>
            <a:pPr>
              <a:lnSpc>
                <a:spcPct val="90000"/>
              </a:lnSpc>
            </a:pPr>
            <a:r>
              <a:rPr lang="en-US" sz="1100" b="1">
                <a:solidFill>
                  <a:schemeClr val="accent3"/>
                </a:solidFill>
                <a:latin typeface="Arial" panose="020B0604020202020204" pitchFamily="34" charset="0"/>
              </a:rPr>
              <a:t>Further details explaining </a:t>
            </a:r>
            <a:r>
              <a:rPr lang="en-US" altLang="zh-TW" sz="1100" b="1">
                <a:solidFill>
                  <a:schemeClr val="accent3"/>
                </a:solidFill>
                <a:latin typeface="Arial" panose="020B0604020202020204" pitchFamily="34" charset="0"/>
                <a:ea typeface="微軟正黑體"/>
                <a:cs typeface="Arial"/>
              </a:rPr>
              <a:t>potential next steps </a:t>
            </a:r>
            <a:r>
              <a:rPr lang="en-US" sz="1100" b="1">
                <a:solidFill>
                  <a:schemeClr val="accent3"/>
                </a:solidFill>
                <a:latin typeface="Arial" panose="020B0604020202020204" pitchFamily="34" charset="0"/>
                <a:hlinkClick r:id="rId16" action="ppaction://hlinksldjump">
                  <a:extLst>
                    <a:ext uri="{A12FA001-AC4F-418D-AE19-62706E023703}">
                      <ahyp:hlinkClr xmlns:ahyp="http://schemas.microsoft.com/office/drawing/2018/hyperlinkcolor" val="tx"/>
                    </a:ext>
                  </a:extLst>
                </a:hlinkClick>
              </a:rPr>
              <a:t>Appendix 4.2</a:t>
            </a:r>
            <a:endParaRPr lang="en-US" sz="1100" b="1">
              <a:solidFill>
                <a:schemeClr val="accent3"/>
              </a:solidFill>
              <a:latin typeface="Arial" panose="020B0604020202020204" pitchFamily="34" charset="0"/>
              <a:cs typeface="Arial"/>
              <a:hlinkClick r:id="" action="ppaction://noaction">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4279064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70A76-93F7-9093-B666-D5829661997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E996-7428-7AA4-737C-2085410839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13F3E996-7428-7AA4-737C-2085410839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標題 1">
            <a:extLst>
              <a:ext uri="{FF2B5EF4-FFF2-40B4-BE49-F238E27FC236}">
                <a16:creationId xmlns:a16="http://schemas.microsoft.com/office/drawing/2014/main" id="{A438BA16-7EB5-676B-3F39-F38E437DE35C}"/>
              </a:ext>
            </a:extLst>
          </p:cNvPr>
          <p:cNvSpPr>
            <a:spLocks noGrp="1"/>
          </p:cNvSpPr>
          <p:nvPr>
            <p:ph type="title"/>
          </p:nvPr>
        </p:nvSpPr>
        <p:spPr>
          <a:xfrm>
            <a:off x="381001" y="381000"/>
            <a:ext cx="5334000" cy="1524000"/>
          </a:xfrm>
        </p:spPr>
        <p:txBody>
          <a:bodyPr vert="horz" wrap="square" anchor="t">
            <a:normAutofit/>
          </a:bodyPr>
          <a:lstStyle/>
          <a:p>
            <a:r>
              <a:rPr lang="en-US" altLang="zh-TW"/>
              <a:t>Final Recommendations</a:t>
            </a:r>
            <a:endParaRPr lang="zh-TW" altLang="en-US"/>
          </a:p>
        </p:txBody>
      </p:sp>
      <p:pic>
        <p:nvPicPr>
          <p:cNvPr id="6" name="Picture Placeholder 7" descr="A close-up of hands shaking&#10;&#10;Description automatically generated">
            <a:extLst>
              <a:ext uri="{FF2B5EF4-FFF2-40B4-BE49-F238E27FC236}">
                <a16:creationId xmlns:a16="http://schemas.microsoft.com/office/drawing/2014/main" id="{C6929837-B1B3-4788-1AF1-D87AF51576A3}"/>
              </a:ext>
            </a:extLst>
          </p:cNvPr>
          <p:cNvPicPr>
            <a:picLocks noGrp="1" noChangeAspect="1"/>
          </p:cNvPicPr>
          <p:nvPr>
            <p:ph type="pic" sz="quarter" idx="42"/>
          </p:nvPr>
        </p:nvPicPr>
        <p:blipFill>
          <a:blip r:embed="rId6" cstate="email">
            <a:extLst>
              <a:ext uri="{28A0092B-C50C-407E-A947-70E740481C1C}">
                <a14:useLocalDpi xmlns:a14="http://schemas.microsoft.com/office/drawing/2010/main"/>
              </a:ext>
            </a:extLst>
          </a:blip>
          <a:srcRect t="12" b="12"/>
          <a:stretch/>
        </p:blipFill>
        <p:spPr>
          <a:xfrm>
            <a:off x="6096000" y="1"/>
            <a:ext cx="6096000" cy="6856412"/>
          </a:xfrm>
          <a:noFill/>
        </p:spPr>
      </p:pic>
    </p:spTree>
    <p:extLst>
      <p:ext uri="{BB962C8B-B14F-4D97-AF65-F5344CB8AC3E}">
        <p14:creationId xmlns:p14="http://schemas.microsoft.com/office/powerpoint/2010/main" val="8887425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32488-0F62-BB79-70B9-3BA7BD2DEA41}"/>
            </a:ext>
          </a:extLst>
        </p:cNvPr>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C2A33FD-E0AD-50BD-75B4-A1C944CAE5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1" name="think-cell data - do not delete" hidden="1">
                        <a:extLst>
                          <a:ext uri="{FF2B5EF4-FFF2-40B4-BE49-F238E27FC236}">
                            <a16:creationId xmlns:a16="http://schemas.microsoft.com/office/drawing/2014/main" id="{6C2A33FD-E0AD-50BD-75B4-A1C944CAE5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Grid6">
            <a:extLst>
              <a:ext uri="{FF2B5EF4-FFF2-40B4-BE49-F238E27FC236}">
                <a16:creationId xmlns:a16="http://schemas.microsoft.com/office/drawing/2014/main" id="{28571175-B474-2F1D-5AB2-5392560F7D3F}"/>
              </a:ext>
            </a:extLst>
          </p:cNvPr>
          <p:cNvSpPr/>
          <p:nvPr/>
        </p:nvSpPr>
        <p:spPr bwMode="gray">
          <a:xfrm>
            <a:off x="9144000" y="3429000"/>
            <a:ext cx="3048000" cy="3429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14" name="Grid5">
            <a:extLst>
              <a:ext uri="{FF2B5EF4-FFF2-40B4-BE49-F238E27FC236}">
                <a16:creationId xmlns:a16="http://schemas.microsoft.com/office/drawing/2014/main" id="{D701CEF3-952E-92B3-BCFA-156AC51209D8}"/>
              </a:ext>
            </a:extLst>
          </p:cNvPr>
          <p:cNvSpPr/>
          <p:nvPr/>
        </p:nvSpPr>
        <p:spPr bwMode="gray">
          <a:xfrm>
            <a:off x="6096000" y="3429000"/>
            <a:ext cx="3048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12" name="Grid4">
            <a:extLst>
              <a:ext uri="{FF2B5EF4-FFF2-40B4-BE49-F238E27FC236}">
                <a16:creationId xmlns:a16="http://schemas.microsoft.com/office/drawing/2014/main" id="{D9E284E5-FA95-EF68-AC3D-9E288F15CFF7}"/>
              </a:ext>
            </a:extLst>
          </p:cNvPr>
          <p:cNvSpPr/>
          <p:nvPr/>
        </p:nvSpPr>
        <p:spPr bwMode="gray">
          <a:xfrm>
            <a:off x="3048000" y="3429000"/>
            <a:ext cx="3048000" cy="3429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11" name="Grid3">
            <a:extLst>
              <a:ext uri="{FF2B5EF4-FFF2-40B4-BE49-F238E27FC236}">
                <a16:creationId xmlns:a16="http://schemas.microsoft.com/office/drawing/2014/main" id="{EF99C3F0-9507-1BF6-85E2-042E4F7DE69B}"/>
              </a:ext>
            </a:extLst>
          </p:cNvPr>
          <p:cNvSpPr/>
          <p:nvPr/>
        </p:nvSpPr>
        <p:spPr bwMode="gray">
          <a:xfrm>
            <a:off x="9144000" y="0"/>
            <a:ext cx="3048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10" name="Grid2">
            <a:extLst>
              <a:ext uri="{FF2B5EF4-FFF2-40B4-BE49-F238E27FC236}">
                <a16:creationId xmlns:a16="http://schemas.microsoft.com/office/drawing/2014/main" id="{239A5093-D9D1-64AC-2E4B-60A9446F5F6D}"/>
              </a:ext>
            </a:extLst>
          </p:cNvPr>
          <p:cNvSpPr/>
          <p:nvPr/>
        </p:nvSpPr>
        <p:spPr bwMode="gray">
          <a:xfrm>
            <a:off x="6096000" y="0"/>
            <a:ext cx="3048000" cy="3429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9" name="Grid1">
            <a:extLst>
              <a:ext uri="{FF2B5EF4-FFF2-40B4-BE49-F238E27FC236}">
                <a16:creationId xmlns:a16="http://schemas.microsoft.com/office/drawing/2014/main" id="{00019EE7-E99E-1120-5961-20134A7B5B11}"/>
              </a:ext>
            </a:extLst>
          </p:cNvPr>
          <p:cNvSpPr/>
          <p:nvPr/>
        </p:nvSpPr>
        <p:spPr bwMode="gray">
          <a:xfrm>
            <a:off x="3048000" y="0"/>
            <a:ext cx="3048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2" name="標題 1">
            <a:extLst>
              <a:ext uri="{FF2B5EF4-FFF2-40B4-BE49-F238E27FC236}">
                <a16:creationId xmlns:a16="http://schemas.microsoft.com/office/drawing/2014/main" id="{ACCF75E7-CB09-0FDA-5F9E-6AF496B83758}"/>
              </a:ext>
            </a:extLst>
          </p:cNvPr>
          <p:cNvSpPr>
            <a:spLocks noGrp="1"/>
          </p:cNvSpPr>
          <p:nvPr>
            <p:ph type="title"/>
          </p:nvPr>
        </p:nvSpPr>
        <p:spPr/>
        <p:txBody>
          <a:bodyPr vert="horz" wrap="square" anchor="t">
            <a:normAutofit/>
          </a:bodyPr>
          <a:lstStyle/>
          <a:p>
            <a:r>
              <a:rPr lang="en-US"/>
              <a:t>Strategic Path Forward</a:t>
            </a:r>
          </a:p>
        </p:txBody>
      </p:sp>
      <p:sp>
        <p:nvSpPr>
          <p:cNvPr id="25" name="Rectangle 24">
            <a:extLst>
              <a:ext uri="{FF2B5EF4-FFF2-40B4-BE49-F238E27FC236}">
                <a16:creationId xmlns:a16="http://schemas.microsoft.com/office/drawing/2014/main" id="{E39D6AD6-C927-B27B-1069-C5BDCA553C08}"/>
              </a:ext>
            </a:extLst>
          </p:cNvPr>
          <p:cNvSpPr/>
          <p:nvPr/>
        </p:nvSpPr>
        <p:spPr>
          <a:xfrm>
            <a:off x="3429000" y="6106160"/>
            <a:ext cx="8378825" cy="381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90000"/>
              </a:lnSpc>
            </a:pPr>
            <a:r>
              <a:rPr lang="en-US" sz="700">
                <a:solidFill>
                  <a:schemeClr val="tx1"/>
                </a:solidFill>
              </a:rPr>
              <a:t>Source: Kearney</a:t>
            </a:r>
          </a:p>
        </p:txBody>
      </p:sp>
      <p:sp>
        <p:nvSpPr>
          <p:cNvPr id="17" name="Rectangle 16">
            <a:extLst>
              <a:ext uri="{FF2B5EF4-FFF2-40B4-BE49-F238E27FC236}">
                <a16:creationId xmlns:a16="http://schemas.microsoft.com/office/drawing/2014/main" id="{4EE81829-0556-6BE8-F93C-9BFE6BC341E1}"/>
              </a:ext>
            </a:extLst>
          </p:cNvPr>
          <p:cNvSpPr/>
          <p:nvPr/>
        </p:nvSpPr>
        <p:spPr bwMode="gray">
          <a:xfrm>
            <a:off x="3429000" y="381000"/>
            <a:ext cx="2286000" cy="44319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600" b="1">
                <a:solidFill>
                  <a:schemeClr val="tx1"/>
                </a:solidFill>
              </a:rPr>
              <a:t>Phased Cost Recovery Post Factory Closure</a:t>
            </a:r>
          </a:p>
        </p:txBody>
      </p:sp>
      <p:sp>
        <p:nvSpPr>
          <p:cNvPr id="18" name="Rectangle 17">
            <a:extLst>
              <a:ext uri="{FF2B5EF4-FFF2-40B4-BE49-F238E27FC236}">
                <a16:creationId xmlns:a16="http://schemas.microsoft.com/office/drawing/2014/main" id="{DDAFAE9D-9E24-7472-70EC-0AF7CD5F534B}"/>
              </a:ext>
            </a:extLst>
          </p:cNvPr>
          <p:cNvSpPr/>
          <p:nvPr/>
        </p:nvSpPr>
        <p:spPr bwMode="gray">
          <a:xfrm>
            <a:off x="3429000" y="1166951"/>
            <a:ext cx="2286000" cy="143423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a:solidFill>
                  <a:schemeClr val="tx1"/>
                </a:solidFill>
              </a:rPr>
              <a:t>Phase out plant operations to cut structural costs</a:t>
            </a:r>
          </a:p>
          <a:p>
            <a:pPr marL="177800" indent="-177800">
              <a:lnSpc>
                <a:spcPct val="90000"/>
              </a:lnSpc>
              <a:spcBef>
                <a:spcPts val="600"/>
              </a:spcBef>
              <a:buClr>
                <a:srgbClr val="1E1E1E"/>
              </a:buClr>
              <a:buSzPct val="100000"/>
              <a:buFont typeface="Arial" panose="020B0604020202020204" pitchFamily="34" charset="0"/>
              <a:buChar char="–"/>
            </a:pPr>
            <a:r>
              <a:rPr lang="en-US" sz="1400">
                <a:solidFill>
                  <a:schemeClr val="tx1"/>
                </a:solidFill>
              </a:rPr>
              <a:t>Outsource smaller goods first, with a roadmap to full external production in 18–24 months</a:t>
            </a:r>
            <a:br>
              <a:rPr lang="en-US" sz="1400">
                <a:solidFill>
                  <a:schemeClr val="tx1"/>
                </a:solidFill>
              </a:rPr>
            </a:br>
            <a:endParaRPr lang="en-US" sz="1400">
              <a:solidFill>
                <a:schemeClr val="tx1"/>
              </a:solidFill>
            </a:endParaRPr>
          </a:p>
        </p:txBody>
      </p:sp>
      <p:sp>
        <p:nvSpPr>
          <p:cNvPr id="19" name="Rectangle 18">
            <a:extLst>
              <a:ext uri="{FF2B5EF4-FFF2-40B4-BE49-F238E27FC236}">
                <a16:creationId xmlns:a16="http://schemas.microsoft.com/office/drawing/2014/main" id="{054B0F26-5F19-5F36-EA05-F8E3F8C12027}"/>
              </a:ext>
            </a:extLst>
          </p:cNvPr>
          <p:cNvSpPr/>
          <p:nvPr/>
        </p:nvSpPr>
        <p:spPr bwMode="gray">
          <a:xfrm>
            <a:off x="6477000" y="381000"/>
            <a:ext cx="2286000" cy="44319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600" b="1">
                <a:solidFill>
                  <a:schemeClr val="tx1"/>
                </a:solidFill>
              </a:rPr>
              <a:t>Boost on Durable Goods sales</a:t>
            </a:r>
          </a:p>
        </p:txBody>
      </p:sp>
      <p:sp>
        <p:nvSpPr>
          <p:cNvPr id="20" name="Rectangle 19">
            <a:extLst>
              <a:ext uri="{FF2B5EF4-FFF2-40B4-BE49-F238E27FC236}">
                <a16:creationId xmlns:a16="http://schemas.microsoft.com/office/drawing/2014/main" id="{72C5BDE6-BBAD-DDC5-51BE-899DF9A65B09}"/>
              </a:ext>
            </a:extLst>
          </p:cNvPr>
          <p:cNvSpPr/>
          <p:nvPr/>
        </p:nvSpPr>
        <p:spPr bwMode="gray">
          <a:xfrm>
            <a:off x="6477000" y="1166951"/>
            <a:ext cx="2286000" cy="104644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a:solidFill>
                  <a:schemeClr val="tx1"/>
                </a:solidFill>
              </a:rPr>
              <a:t>Maintain investment in high-margin, high-loyalty SKUs</a:t>
            </a:r>
          </a:p>
          <a:p>
            <a:pPr marL="177800" indent="-177800">
              <a:lnSpc>
                <a:spcPct val="90000"/>
              </a:lnSpc>
              <a:spcBef>
                <a:spcPts val="600"/>
              </a:spcBef>
              <a:buClr>
                <a:srgbClr val="1E1E1E"/>
              </a:buClr>
              <a:buSzPct val="100000"/>
              <a:buFont typeface="Arial" panose="020B0604020202020204" pitchFamily="34" charset="0"/>
              <a:buChar char="–"/>
            </a:pPr>
            <a:r>
              <a:rPr lang="en-US" sz="1400">
                <a:solidFill>
                  <a:schemeClr val="tx1"/>
                </a:solidFill>
              </a:rPr>
              <a:t>Leverage kits and bundles to drive trial and repeat</a:t>
            </a:r>
          </a:p>
        </p:txBody>
      </p:sp>
      <p:sp>
        <p:nvSpPr>
          <p:cNvPr id="21" name="Rectangle 20">
            <a:extLst>
              <a:ext uri="{FF2B5EF4-FFF2-40B4-BE49-F238E27FC236}">
                <a16:creationId xmlns:a16="http://schemas.microsoft.com/office/drawing/2014/main" id="{15F5944F-F9C4-A077-F4D4-1AD6D70C5CF1}"/>
              </a:ext>
            </a:extLst>
          </p:cNvPr>
          <p:cNvSpPr/>
          <p:nvPr/>
        </p:nvSpPr>
        <p:spPr bwMode="gray">
          <a:xfrm>
            <a:off x="9525000" y="381000"/>
            <a:ext cx="2286000" cy="66479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600" b="1">
                <a:solidFill>
                  <a:schemeClr val="tx1"/>
                </a:solidFill>
              </a:rPr>
              <a:t>Preserving Durable goods to protect </a:t>
            </a:r>
            <a:endParaRPr lang="en-US">
              <a:solidFill>
                <a:schemeClr val="tx1"/>
              </a:solidFill>
            </a:endParaRPr>
          </a:p>
          <a:p>
            <a:pPr>
              <a:lnSpc>
                <a:spcPct val="90000"/>
              </a:lnSpc>
            </a:pPr>
            <a:r>
              <a:rPr lang="en-US" sz="1600" b="1" dirty="0">
                <a:solidFill>
                  <a:schemeClr val="tx1"/>
                </a:solidFill>
              </a:rPr>
              <a:t>Fast-moving</a:t>
            </a:r>
            <a:r>
              <a:rPr lang="en-US" sz="1600" b="1">
                <a:solidFill>
                  <a:schemeClr val="tx1"/>
                </a:solidFill>
              </a:rPr>
              <a:t> Goods</a:t>
            </a:r>
            <a:endParaRPr lang="en-US" dirty="0">
              <a:solidFill>
                <a:schemeClr val="tx1"/>
              </a:solidFill>
            </a:endParaRPr>
          </a:p>
        </p:txBody>
      </p:sp>
      <p:sp>
        <p:nvSpPr>
          <p:cNvPr id="22" name="Rectangle 21">
            <a:extLst>
              <a:ext uri="{FF2B5EF4-FFF2-40B4-BE49-F238E27FC236}">
                <a16:creationId xmlns:a16="http://schemas.microsoft.com/office/drawing/2014/main" id="{1E8D2620-3F62-597A-7827-EF4F0CB7A22A}"/>
              </a:ext>
            </a:extLst>
          </p:cNvPr>
          <p:cNvSpPr/>
          <p:nvPr/>
        </p:nvSpPr>
        <p:spPr bwMode="gray">
          <a:xfrm>
            <a:off x="9525000" y="1166951"/>
            <a:ext cx="2286000" cy="155119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a:solidFill>
                  <a:schemeClr val="tx1"/>
                </a:solidFill>
              </a:rPr>
              <a:t>Durable goods are essential for retaining</a:t>
            </a:r>
            <a:r>
              <a:rPr lang="en-US" sz="1400" dirty="0">
                <a:solidFill>
                  <a:schemeClr val="tx1"/>
                </a:solidFill>
              </a:rPr>
              <a:t>  Fast-moving</a:t>
            </a:r>
            <a:r>
              <a:rPr lang="en-US" sz="1400">
                <a:solidFill>
                  <a:schemeClr val="tx1"/>
                </a:solidFill>
              </a:rPr>
              <a:t> goods sales and shelf presence—dropping them risks erosion across the portfolio.</a:t>
            </a:r>
            <a:br>
              <a:rPr lang="en-US" sz="1400" dirty="0"/>
            </a:br>
            <a:endParaRPr lang="en-US" sz="1400">
              <a:solidFill>
                <a:schemeClr val="tx1"/>
              </a:solidFill>
            </a:endParaRPr>
          </a:p>
        </p:txBody>
      </p:sp>
      <p:sp>
        <p:nvSpPr>
          <p:cNvPr id="23" name="Rectangle 22">
            <a:extLst>
              <a:ext uri="{FF2B5EF4-FFF2-40B4-BE49-F238E27FC236}">
                <a16:creationId xmlns:a16="http://schemas.microsoft.com/office/drawing/2014/main" id="{976A2875-4BB6-CC3C-4367-E5DC94440EB1}"/>
              </a:ext>
            </a:extLst>
          </p:cNvPr>
          <p:cNvSpPr/>
          <p:nvPr/>
        </p:nvSpPr>
        <p:spPr bwMode="gray">
          <a:xfrm>
            <a:off x="3428999" y="3810000"/>
            <a:ext cx="2667001" cy="66479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600" b="1">
                <a:solidFill>
                  <a:schemeClr val="tx1"/>
                </a:solidFill>
              </a:rPr>
              <a:t>Brick &amp; mortar: Defending shelf space through retail execution levers</a:t>
            </a:r>
          </a:p>
        </p:txBody>
      </p:sp>
      <p:sp>
        <p:nvSpPr>
          <p:cNvPr id="24" name="Rectangle 23">
            <a:extLst>
              <a:ext uri="{FF2B5EF4-FFF2-40B4-BE49-F238E27FC236}">
                <a16:creationId xmlns:a16="http://schemas.microsoft.com/office/drawing/2014/main" id="{21E5021B-A2EF-8AAF-1F82-58A3E094EB4F}"/>
              </a:ext>
            </a:extLst>
          </p:cNvPr>
          <p:cNvSpPr/>
          <p:nvPr/>
        </p:nvSpPr>
        <p:spPr bwMode="gray">
          <a:xfrm>
            <a:off x="3429000" y="4569827"/>
            <a:ext cx="2286000" cy="135729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a:solidFill>
                  <a:schemeClr val="tx1"/>
                </a:solidFill>
              </a:rPr>
              <a:t>Secure premium shelf placement, defend against private label with differentiated messaging, and accelerate sales through bundled SKUs.</a:t>
            </a:r>
            <a:br>
              <a:rPr lang="en-US" sz="1400">
                <a:solidFill>
                  <a:schemeClr val="tx1"/>
                </a:solidFill>
              </a:rPr>
            </a:br>
            <a:endParaRPr lang="en-US" sz="1400">
              <a:solidFill>
                <a:schemeClr val="tx1"/>
              </a:solidFill>
            </a:endParaRPr>
          </a:p>
        </p:txBody>
      </p:sp>
      <p:sp>
        <p:nvSpPr>
          <p:cNvPr id="26" name="Rectangle 25">
            <a:extLst>
              <a:ext uri="{FF2B5EF4-FFF2-40B4-BE49-F238E27FC236}">
                <a16:creationId xmlns:a16="http://schemas.microsoft.com/office/drawing/2014/main" id="{D84C5371-F9EE-DF35-2AC9-EE6F444241BA}"/>
              </a:ext>
            </a:extLst>
          </p:cNvPr>
          <p:cNvSpPr/>
          <p:nvPr/>
        </p:nvSpPr>
        <p:spPr bwMode="gray">
          <a:xfrm>
            <a:off x="6477000" y="3810000"/>
            <a:ext cx="2667000" cy="66479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600" b="1">
                <a:solidFill>
                  <a:schemeClr val="tx1"/>
                </a:solidFill>
              </a:rPr>
              <a:t>E - commerce: Dominating digital channels through optimized KPIs</a:t>
            </a:r>
          </a:p>
        </p:txBody>
      </p:sp>
      <p:sp>
        <p:nvSpPr>
          <p:cNvPr id="27" name="Rectangle 26">
            <a:extLst>
              <a:ext uri="{FF2B5EF4-FFF2-40B4-BE49-F238E27FC236}">
                <a16:creationId xmlns:a16="http://schemas.microsoft.com/office/drawing/2014/main" id="{E076A228-EC6B-B65C-8AAE-35A8133E445F}"/>
              </a:ext>
            </a:extLst>
          </p:cNvPr>
          <p:cNvSpPr/>
          <p:nvPr/>
        </p:nvSpPr>
        <p:spPr bwMode="gray">
          <a:xfrm>
            <a:off x="6477000" y="4569827"/>
            <a:ext cx="2286000" cy="116339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177800" indent="-177800">
              <a:lnSpc>
                <a:spcPct val="90000"/>
              </a:lnSpc>
              <a:spcBef>
                <a:spcPts val="600"/>
              </a:spcBef>
              <a:buClr>
                <a:srgbClr val="1E1E1E"/>
              </a:buClr>
              <a:buSzPct val="100000"/>
              <a:buFont typeface="Arial" panose="020B0604020202020204" pitchFamily="34" charset="0"/>
              <a:buChar char="–"/>
            </a:pPr>
            <a:r>
              <a:rPr lang="en-US" sz="1400">
                <a:solidFill>
                  <a:schemeClr val="tx1"/>
                </a:solidFill>
              </a:rPr>
              <a:t>Elevate Amazon performance with SEO-driven content, targeted ad spend, and review optimization to win both traffic and conversion.</a:t>
            </a:r>
          </a:p>
        </p:txBody>
      </p:sp>
      <p:pic>
        <p:nvPicPr>
          <p:cNvPr id="31" name="Graphic 30">
            <a:extLst>
              <a:ext uri="{FF2B5EF4-FFF2-40B4-BE49-F238E27FC236}">
                <a16:creationId xmlns:a16="http://schemas.microsoft.com/office/drawing/2014/main" id="{CD27F750-D811-7FDF-2475-50915DA6AB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42366" y="2565853"/>
            <a:ext cx="762000" cy="762000"/>
          </a:xfrm>
          <a:prstGeom prst="rect">
            <a:avLst/>
          </a:prstGeom>
        </p:spPr>
      </p:pic>
      <p:pic>
        <p:nvPicPr>
          <p:cNvPr id="32" name="Graphic 31">
            <a:extLst>
              <a:ext uri="{FF2B5EF4-FFF2-40B4-BE49-F238E27FC236}">
                <a16:creationId xmlns:a16="http://schemas.microsoft.com/office/drawing/2014/main" id="{01557F4D-CED5-11B5-48D6-207EECA2DF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9000" y="2565853"/>
            <a:ext cx="762000" cy="762000"/>
          </a:xfrm>
          <a:prstGeom prst="rect">
            <a:avLst/>
          </a:prstGeom>
        </p:spPr>
      </p:pic>
      <p:sp>
        <p:nvSpPr>
          <p:cNvPr id="33" name="Freeform: Shape 32">
            <a:extLst>
              <a:ext uri="{FF2B5EF4-FFF2-40B4-BE49-F238E27FC236}">
                <a16:creationId xmlns:a16="http://schemas.microsoft.com/office/drawing/2014/main" id="{FC10F317-00C4-A389-3A36-32A0250E36DF}"/>
              </a:ext>
            </a:extLst>
          </p:cNvPr>
          <p:cNvSpPr/>
          <p:nvPr/>
        </p:nvSpPr>
        <p:spPr>
          <a:xfrm>
            <a:off x="4956175" y="5869385"/>
            <a:ext cx="751703" cy="753483"/>
          </a:xfrm>
          <a:custGeom>
            <a:avLst/>
            <a:gdLst>
              <a:gd name="connsiteX0" fmla="*/ 512805 w 751703"/>
              <a:gd name="connsiteY0" fmla="*/ 463378 h 731108"/>
              <a:gd name="connsiteX1" fmla="*/ 490151 w 751703"/>
              <a:gd name="connsiteY1" fmla="*/ 486032 h 731108"/>
              <a:gd name="connsiteX2" fmla="*/ 512805 w 751703"/>
              <a:gd name="connsiteY2" fmla="*/ 508686 h 731108"/>
              <a:gd name="connsiteX3" fmla="*/ 535459 w 751703"/>
              <a:gd name="connsiteY3" fmla="*/ 486032 h 731108"/>
              <a:gd name="connsiteX4" fmla="*/ 512805 w 751703"/>
              <a:gd name="connsiteY4" fmla="*/ 463378 h 731108"/>
              <a:gd name="connsiteX5" fmla="*/ 512805 w 751703"/>
              <a:gd name="connsiteY5" fmla="*/ 418070 h 731108"/>
              <a:gd name="connsiteX6" fmla="*/ 582826 w 751703"/>
              <a:gd name="connsiteY6" fmla="*/ 488092 h 731108"/>
              <a:gd name="connsiteX7" fmla="*/ 512805 w 751703"/>
              <a:gd name="connsiteY7" fmla="*/ 558113 h 731108"/>
              <a:gd name="connsiteX8" fmla="*/ 442783 w 751703"/>
              <a:gd name="connsiteY8" fmla="*/ 488092 h 731108"/>
              <a:gd name="connsiteX9" fmla="*/ 512805 w 751703"/>
              <a:gd name="connsiteY9" fmla="*/ 418070 h 731108"/>
              <a:gd name="connsiteX10" fmla="*/ 131805 w 751703"/>
              <a:gd name="connsiteY10" fmla="*/ 378940 h 731108"/>
              <a:gd name="connsiteX11" fmla="*/ 154459 w 751703"/>
              <a:gd name="connsiteY11" fmla="*/ 401594 h 731108"/>
              <a:gd name="connsiteX12" fmla="*/ 131805 w 751703"/>
              <a:gd name="connsiteY12" fmla="*/ 424248 h 731108"/>
              <a:gd name="connsiteX13" fmla="*/ 109151 w 751703"/>
              <a:gd name="connsiteY13" fmla="*/ 401594 h 731108"/>
              <a:gd name="connsiteX14" fmla="*/ 131805 w 751703"/>
              <a:gd name="connsiteY14" fmla="*/ 378940 h 731108"/>
              <a:gd name="connsiteX15" fmla="*/ 125627 w 751703"/>
              <a:gd name="connsiteY15" fmla="*/ 315097 h 731108"/>
              <a:gd name="connsiteX16" fmla="*/ 115330 w 751703"/>
              <a:gd name="connsiteY16" fmla="*/ 348048 h 731108"/>
              <a:gd name="connsiteX17" fmla="*/ 107092 w 751703"/>
              <a:gd name="connsiteY17" fmla="*/ 352167 h 731108"/>
              <a:gd name="connsiteX18" fmla="*/ 98854 w 751703"/>
              <a:gd name="connsiteY18" fmla="*/ 356286 h 731108"/>
              <a:gd name="connsiteX19" fmla="*/ 90616 w 751703"/>
              <a:gd name="connsiteY19" fmla="*/ 362464 h 731108"/>
              <a:gd name="connsiteX20" fmla="*/ 57665 w 751703"/>
              <a:gd name="connsiteY20" fmla="*/ 356286 h 731108"/>
              <a:gd name="connsiteX21" fmla="*/ 51486 w 751703"/>
              <a:gd name="connsiteY21" fmla="*/ 366583 h 731108"/>
              <a:gd name="connsiteX22" fmla="*/ 74141 w 751703"/>
              <a:gd name="connsiteY22" fmla="*/ 389237 h 731108"/>
              <a:gd name="connsiteX23" fmla="*/ 74141 w 751703"/>
              <a:gd name="connsiteY23" fmla="*/ 420129 h 731108"/>
              <a:gd name="connsiteX24" fmla="*/ 51486 w 751703"/>
              <a:gd name="connsiteY24" fmla="*/ 444843 h 731108"/>
              <a:gd name="connsiteX25" fmla="*/ 57665 w 751703"/>
              <a:gd name="connsiteY25" fmla="*/ 451021 h 731108"/>
              <a:gd name="connsiteX26" fmla="*/ 90616 w 751703"/>
              <a:gd name="connsiteY26" fmla="*/ 444843 h 731108"/>
              <a:gd name="connsiteX27" fmla="*/ 98854 w 751703"/>
              <a:gd name="connsiteY27" fmla="*/ 451021 h 731108"/>
              <a:gd name="connsiteX28" fmla="*/ 109151 w 751703"/>
              <a:gd name="connsiteY28" fmla="*/ 457199 h 731108"/>
              <a:gd name="connsiteX29" fmla="*/ 117389 w 751703"/>
              <a:gd name="connsiteY29" fmla="*/ 461318 h 731108"/>
              <a:gd name="connsiteX30" fmla="*/ 125627 w 751703"/>
              <a:gd name="connsiteY30" fmla="*/ 492210 h 731108"/>
              <a:gd name="connsiteX31" fmla="*/ 135924 w 751703"/>
              <a:gd name="connsiteY31" fmla="*/ 492210 h 731108"/>
              <a:gd name="connsiteX32" fmla="*/ 146222 w 751703"/>
              <a:gd name="connsiteY32" fmla="*/ 459259 h 731108"/>
              <a:gd name="connsiteX33" fmla="*/ 154459 w 751703"/>
              <a:gd name="connsiteY33" fmla="*/ 455140 h 731108"/>
              <a:gd name="connsiteX34" fmla="*/ 164757 w 751703"/>
              <a:gd name="connsiteY34" fmla="*/ 451021 h 731108"/>
              <a:gd name="connsiteX35" fmla="*/ 172995 w 751703"/>
              <a:gd name="connsiteY35" fmla="*/ 446902 h 731108"/>
              <a:gd name="connsiteX36" fmla="*/ 205946 w 751703"/>
              <a:gd name="connsiteY36" fmla="*/ 451021 h 731108"/>
              <a:gd name="connsiteX37" fmla="*/ 212124 w 751703"/>
              <a:gd name="connsiteY37" fmla="*/ 440724 h 731108"/>
              <a:gd name="connsiteX38" fmla="*/ 191530 w 751703"/>
              <a:gd name="connsiteY38" fmla="*/ 416010 h 731108"/>
              <a:gd name="connsiteX39" fmla="*/ 191530 w 751703"/>
              <a:gd name="connsiteY39" fmla="*/ 385118 h 731108"/>
              <a:gd name="connsiteX40" fmla="*/ 214184 w 751703"/>
              <a:gd name="connsiteY40" fmla="*/ 360405 h 731108"/>
              <a:gd name="connsiteX41" fmla="*/ 205946 w 751703"/>
              <a:gd name="connsiteY41" fmla="*/ 354226 h 731108"/>
              <a:gd name="connsiteX42" fmla="*/ 170935 w 751703"/>
              <a:gd name="connsiteY42" fmla="*/ 360405 h 731108"/>
              <a:gd name="connsiteX43" fmla="*/ 164757 w 751703"/>
              <a:gd name="connsiteY43" fmla="*/ 356286 h 731108"/>
              <a:gd name="connsiteX44" fmla="*/ 156519 w 751703"/>
              <a:gd name="connsiteY44" fmla="*/ 352167 h 731108"/>
              <a:gd name="connsiteX45" fmla="*/ 148281 w 751703"/>
              <a:gd name="connsiteY45" fmla="*/ 348048 h 731108"/>
              <a:gd name="connsiteX46" fmla="*/ 137984 w 751703"/>
              <a:gd name="connsiteY46" fmla="*/ 315097 h 731108"/>
              <a:gd name="connsiteX47" fmla="*/ 488092 w 751703"/>
              <a:gd name="connsiteY47" fmla="*/ 290383 h 731108"/>
              <a:gd name="connsiteX48" fmla="*/ 465438 w 751703"/>
              <a:gd name="connsiteY48" fmla="*/ 360405 h 731108"/>
              <a:gd name="connsiteX49" fmla="*/ 457200 w 751703"/>
              <a:gd name="connsiteY49" fmla="*/ 364524 h 731108"/>
              <a:gd name="connsiteX50" fmla="*/ 436605 w 751703"/>
              <a:gd name="connsiteY50" fmla="*/ 376881 h 731108"/>
              <a:gd name="connsiteX51" fmla="*/ 428367 w 751703"/>
              <a:gd name="connsiteY51" fmla="*/ 383059 h 731108"/>
              <a:gd name="connsiteX52" fmla="*/ 356286 w 751703"/>
              <a:gd name="connsiteY52" fmla="*/ 368643 h 731108"/>
              <a:gd name="connsiteX53" fmla="*/ 331573 w 751703"/>
              <a:gd name="connsiteY53" fmla="*/ 409832 h 731108"/>
              <a:gd name="connsiteX54" fmla="*/ 381000 w 751703"/>
              <a:gd name="connsiteY54" fmla="*/ 463378 h 731108"/>
              <a:gd name="connsiteX55" fmla="*/ 381000 w 751703"/>
              <a:gd name="connsiteY55" fmla="*/ 473675 h 731108"/>
              <a:gd name="connsiteX56" fmla="*/ 381000 w 751703"/>
              <a:gd name="connsiteY56" fmla="*/ 486032 h 731108"/>
              <a:gd name="connsiteX57" fmla="*/ 381000 w 751703"/>
              <a:gd name="connsiteY57" fmla="*/ 510746 h 731108"/>
              <a:gd name="connsiteX58" fmla="*/ 333632 w 751703"/>
              <a:gd name="connsiteY58" fmla="*/ 564292 h 731108"/>
              <a:gd name="connsiteX59" fmla="*/ 358346 w 751703"/>
              <a:gd name="connsiteY59" fmla="*/ 605481 h 731108"/>
              <a:gd name="connsiteX60" fmla="*/ 430427 w 751703"/>
              <a:gd name="connsiteY60" fmla="*/ 591065 h 731108"/>
              <a:gd name="connsiteX61" fmla="*/ 438665 w 751703"/>
              <a:gd name="connsiteY61" fmla="*/ 597243 h 731108"/>
              <a:gd name="connsiteX62" fmla="*/ 459259 w 751703"/>
              <a:gd name="connsiteY62" fmla="*/ 609600 h 731108"/>
              <a:gd name="connsiteX63" fmla="*/ 467497 w 751703"/>
              <a:gd name="connsiteY63" fmla="*/ 613719 h 731108"/>
              <a:gd name="connsiteX64" fmla="*/ 488092 w 751703"/>
              <a:gd name="connsiteY64" fmla="*/ 683740 h 731108"/>
              <a:gd name="connsiteX65" fmla="*/ 535459 w 751703"/>
              <a:gd name="connsiteY65" fmla="*/ 683740 h 731108"/>
              <a:gd name="connsiteX66" fmla="*/ 558113 w 751703"/>
              <a:gd name="connsiteY66" fmla="*/ 613719 h 731108"/>
              <a:gd name="connsiteX67" fmla="*/ 566351 w 751703"/>
              <a:gd name="connsiteY67" fmla="*/ 609600 h 731108"/>
              <a:gd name="connsiteX68" fmla="*/ 586946 w 751703"/>
              <a:gd name="connsiteY68" fmla="*/ 597243 h 731108"/>
              <a:gd name="connsiteX69" fmla="*/ 595184 w 751703"/>
              <a:gd name="connsiteY69" fmla="*/ 591065 h 731108"/>
              <a:gd name="connsiteX70" fmla="*/ 667265 w 751703"/>
              <a:gd name="connsiteY70" fmla="*/ 605481 h 731108"/>
              <a:gd name="connsiteX71" fmla="*/ 691978 w 751703"/>
              <a:gd name="connsiteY71" fmla="*/ 564292 h 731108"/>
              <a:gd name="connsiteX72" fmla="*/ 642551 w 751703"/>
              <a:gd name="connsiteY72" fmla="*/ 508686 h 731108"/>
              <a:gd name="connsiteX73" fmla="*/ 644611 w 751703"/>
              <a:gd name="connsiteY73" fmla="*/ 496329 h 731108"/>
              <a:gd name="connsiteX74" fmla="*/ 644611 w 751703"/>
              <a:gd name="connsiteY74" fmla="*/ 486032 h 731108"/>
              <a:gd name="connsiteX75" fmla="*/ 644611 w 751703"/>
              <a:gd name="connsiteY75" fmla="*/ 483973 h 731108"/>
              <a:gd name="connsiteX76" fmla="*/ 644611 w 751703"/>
              <a:gd name="connsiteY76" fmla="*/ 471616 h 731108"/>
              <a:gd name="connsiteX77" fmla="*/ 644611 w 751703"/>
              <a:gd name="connsiteY77" fmla="*/ 461319 h 731108"/>
              <a:gd name="connsiteX78" fmla="*/ 691978 w 751703"/>
              <a:gd name="connsiteY78" fmla="*/ 407773 h 731108"/>
              <a:gd name="connsiteX79" fmla="*/ 667265 w 751703"/>
              <a:gd name="connsiteY79" fmla="*/ 366583 h 731108"/>
              <a:gd name="connsiteX80" fmla="*/ 597243 w 751703"/>
              <a:gd name="connsiteY80" fmla="*/ 383059 h 731108"/>
              <a:gd name="connsiteX81" fmla="*/ 589005 w 751703"/>
              <a:gd name="connsiteY81" fmla="*/ 376881 h 731108"/>
              <a:gd name="connsiteX82" fmla="*/ 568411 w 751703"/>
              <a:gd name="connsiteY82" fmla="*/ 364524 h 731108"/>
              <a:gd name="connsiteX83" fmla="*/ 560173 w 751703"/>
              <a:gd name="connsiteY83" fmla="*/ 360405 h 731108"/>
              <a:gd name="connsiteX84" fmla="*/ 537519 w 751703"/>
              <a:gd name="connsiteY84" fmla="*/ 290383 h 731108"/>
              <a:gd name="connsiteX85" fmla="*/ 96795 w 751703"/>
              <a:gd name="connsiteY85" fmla="*/ 271848 h 731108"/>
              <a:gd name="connsiteX86" fmla="*/ 168876 w 751703"/>
              <a:gd name="connsiteY86" fmla="*/ 271848 h 731108"/>
              <a:gd name="connsiteX87" fmla="*/ 183292 w 751703"/>
              <a:gd name="connsiteY87" fmla="*/ 317156 h 731108"/>
              <a:gd name="connsiteX88" fmla="*/ 226541 w 751703"/>
              <a:gd name="connsiteY88" fmla="*/ 306859 h 731108"/>
              <a:gd name="connsiteX89" fmla="*/ 263611 w 751703"/>
              <a:gd name="connsiteY89" fmla="*/ 368643 h 731108"/>
              <a:gd name="connsiteX90" fmla="*/ 232719 w 751703"/>
              <a:gd name="connsiteY90" fmla="*/ 403653 h 731108"/>
              <a:gd name="connsiteX91" fmla="*/ 263611 w 751703"/>
              <a:gd name="connsiteY91" fmla="*/ 438664 h 731108"/>
              <a:gd name="connsiteX92" fmla="*/ 228600 w 751703"/>
              <a:gd name="connsiteY92" fmla="*/ 500448 h 731108"/>
              <a:gd name="connsiteX93" fmla="*/ 183292 w 751703"/>
              <a:gd name="connsiteY93" fmla="*/ 492210 h 731108"/>
              <a:gd name="connsiteX94" fmla="*/ 166816 w 751703"/>
              <a:gd name="connsiteY94" fmla="*/ 533399 h 731108"/>
              <a:gd name="connsiteX95" fmla="*/ 96795 w 751703"/>
              <a:gd name="connsiteY95" fmla="*/ 533399 h 731108"/>
              <a:gd name="connsiteX96" fmla="*/ 82378 w 751703"/>
              <a:gd name="connsiteY96" fmla="*/ 490151 h 731108"/>
              <a:gd name="connsiteX97" fmla="*/ 37070 w 751703"/>
              <a:gd name="connsiteY97" fmla="*/ 498389 h 731108"/>
              <a:gd name="connsiteX98" fmla="*/ 0 w 751703"/>
              <a:gd name="connsiteY98" fmla="*/ 436605 h 731108"/>
              <a:gd name="connsiteX99" fmla="*/ 30892 w 751703"/>
              <a:gd name="connsiteY99" fmla="*/ 403653 h 731108"/>
              <a:gd name="connsiteX100" fmla="*/ 0 w 751703"/>
              <a:gd name="connsiteY100" fmla="*/ 368643 h 731108"/>
              <a:gd name="connsiteX101" fmla="*/ 35011 w 751703"/>
              <a:gd name="connsiteY101" fmla="*/ 306859 h 731108"/>
              <a:gd name="connsiteX102" fmla="*/ 82378 w 751703"/>
              <a:gd name="connsiteY102" fmla="*/ 315097 h 731108"/>
              <a:gd name="connsiteX103" fmla="*/ 455140 w 751703"/>
              <a:gd name="connsiteY103" fmla="*/ 238897 h 731108"/>
              <a:gd name="connsiteX104" fmla="*/ 572530 w 751703"/>
              <a:gd name="connsiteY104" fmla="*/ 238897 h 731108"/>
              <a:gd name="connsiteX105" fmla="*/ 599303 w 751703"/>
              <a:gd name="connsiteY105" fmla="*/ 321275 h 731108"/>
              <a:gd name="connsiteX106" fmla="*/ 607540 w 751703"/>
              <a:gd name="connsiteY106" fmla="*/ 327454 h 731108"/>
              <a:gd name="connsiteX107" fmla="*/ 691978 w 751703"/>
              <a:gd name="connsiteY107" fmla="*/ 310978 h 731108"/>
              <a:gd name="connsiteX108" fmla="*/ 751703 w 751703"/>
              <a:gd name="connsiteY108" fmla="*/ 411892 h 731108"/>
              <a:gd name="connsiteX109" fmla="*/ 694038 w 751703"/>
              <a:gd name="connsiteY109" fmla="*/ 477794 h 731108"/>
              <a:gd name="connsiteX110" fmla="*/ 694038 w 751703"/>
              <a:gd name="connsiteY110" fmla="*/ 483973 h 731108"/>
              <a:gd name="connsiteX111" fmla="*/ 694038 w 751703"/>
              <a:gd name="connsiteY111" fmla="*/ 490151 h 731108"/>
              <a:gd name="connsiteX112" fmla="*/ 751703 w 751703"/>
              <a:gd name="connsiteY112" fmla="*/ 553994 h 731108"/>
              <a:gd name="connsiteX113" fmla="*/ 694038 w 751703"/>
              <a:gd name="connsiteY113" fmla="*/ 654908 h 731108"/>
              <a:gd name="connsiteX114" fmla="*/ 607540 w 751703"/>
              <a:gd name="connsiteY114" fmla="*/ 638432 h 731108"/>
              <a:gd name="connsiteX115" fmla="*/ 599303 w 751703"/>
              <a:gd name="connsiteY115" fmla="*/ 644611 h 731108"/>
              <a:gd name="connsiteX116" fmla="*/ 570470 w 751703"/>
              <a:gd name="connsiteY116" fmla="*/ 731108 h 731108"/>
              <a:gd name="connsiteX117" fmla="*/ 453081 w 751703"/>
              <a:gd name="connsiteY117" fmla="*/ 731108 h 731108"/>
              <a:gd name="connsiteX118" fmla="*/ 426308 w 751703"/>
              <a:gd name="connsiteY118" fmla="*/ 646670 h 731108"/>
              <a:gd name="connsiteX119" fmla="*/ 418070 w 751703"/>
              <a:gd name="connsiteY119" fmla="*/ 640492 h 731108"/>
              <a:gd name="connsiteX120" fmla="*/ 331573 w 751703"/>
              <a:gd name="connsiteY120" fmla="*/ 656967 h 731108"/>
              <a:gd name="connsiteX121" fmla="*/ 273908 w 751703"/>
              <a:gd name="connsiteY121" fmla="*/ 556054 h 731108"/>
              <a:gd name="connsiteX122" fmla="*/ 333632 w 751703"/>
              <a:gd name="connsiteY122" fmla="*/ 490151 h 731108"/>
              <a:gd name="connsiteX123" fmla="*/ 333632 w 751703"/>
              <a:gd name="connsiteY123" fmla="*/ 483973 h 731108"/>
              <a:gd name="connsiteX124" fmla="*/ 333632 w 751703"/>
              <a:gd name="connsiteY124" fmla="*/ 477794 h 731108"/>
              <a:gd name="connsiteX125" fmla="*/ 275967 w 751703"/>
              <a:gd name="connsiteY125" fmla="*/ 411892 h 731108"/>
              <a:gd name="connsiteX126" fmla="*/ 333632 w 751703"/>
              <a:gd name="connsiteY126" fmla="*/ 310978 h 731108"/>
              <a:gd name="connsiteX127" fmla="*/ 420130 w 751703"/>
              <a:gd name="connsiteY127" fmla="*/ 327454 h 731108"/>
              <a:gd name="connsiteX128" fmla="*/ 428367 w 751703"/>
              <a:gd name="connsiteY128" fmla="*/ 321275 h 731108"/>
              <a:gd name="connsiteX129" fmla="*/ 319216 w 751703"/>
              <a:gd name="connsiteY129" fmla="*/ 121508 h 731108"/>
              <a:gd name="connsiteX130" fmla="*/ 339811 w 751703"/>
              <a:gd name="connsiteY130" fmla="*/ 131805 h 731108"/>
              <a:gd name="connsiteX131" fmla="*/ 329513 w 751703"/>
              <a:gd name="connsiteY131" fmla="*/ 166816 h 731108"/>
              <a:gd name="connsiteX132" fmla="*/ 317157 w 751703"/>
              <a:gd name="connsiteY132" fmla="*/ 170935 h 731108"/>
              <a:gd name="connsiteX133" fmla="*/ 294503 w 751703"/>
              <a:gd name="connsiteY133" fmla="*/ 158578 h 731108"/>
              <a:gd name="connsiteX134" fmla="*/ 304800 w 751703"/>
              <a:gd name="connsiteY134" fmla="*/ 123567 h 731108"/>
              <a:gd name="connsiteX135" fmla="*/ 319216 w 751703"/>
              <a:gd name="connsiteY135" fmla="*/ 121508 h 731108"/>
              <a:gd name="connsiteX136" fmla="*/ 273908 w 751703"/>
              <a:gd name="connsiteY136" fmla="*/ 57665 h 731108"/>
              <a:gd name="connsiteX137" fmla="*/ 263611 w 751703"/>
              <a:gd name="connsiteY137" fmla="*/ 63843 h 731108"/>
              <a:gd name="connsiteX138" fmla="*/ 271849 w 751703"/>
              <a:gd name="connsiteY138" fmla="*/ 100914 h 731108"/>
              <a:gd name="connsiteX139" fmla="*/ 265670 w 751703"/>
              <a:gd name="connsiteY139" fmla="*/ 109151 h 731108"/>
              <a:gd name="connsiteX140" fmla="*/ 259492 w 751703"/>
              <a:gd name="connsiteY140" fmla="*/ 119449 h 731108"/>
              <a:gd name="connsiteX141" fmla="*/ 255373 w 751703"/>
              <a:gd name="connsiteY141" fmla="*/ 129746 h 731108"/>
              <a:gd name="connsiteX142" fmla="*/ 220362 w 751703"/>
              <a:gd name="connsiteY142" fmla="*/ 142103 h 731108"/>
              <a:gd name="connsiteX143" fmla="*/ 220362 w 751703"/>
              <a:gd name="connsiteY143" fmla="*/ 154459 h 731108"/>
              <a:gd name="connsiteX144" fmla="*/ 255373 w 751703"/>
              <a:gd name="connsiteY144" fmla="*/ 166816 h 731108"/>
              <a:gd name="connsiteX145" fmla="*/ 265670 w 751703"/>
              <a:gd name="connsiteY145" fmla="*/ 187411 h 731108"/>
              <a:gd name="connsiteX146" fmla="*/ 271849 w 751703"/>
              <a:gd name="connsiteY146" fmla="*/ 195649 h 731108"/>
              <a:gd name="connsiteX147" fmla="*/ 263611 w 751703"/>
              <a:gd name="connsiteY147" fmla="*/ 232719 h 731108"/>
              <a:gd name="connsiteX148" fmla="*/ 273908 w 751703"/>
              <a:gd name="connsiteY148" fmla="*/ 238897 h 731108"/>
              <a:gd name="connsiteX149" fmla="*/ 302740 w 751703"/>
              <a:gd name="connsiteY149" fmla="*/ 214184 h 731108"/>
              <a:gd name="connsiteX150" fmla="*/ 313038 w 751703"/>
              <a:gd name="connsiteY150" fmla="*/ 214184 h 731108"/>
              <a:gd name="connsiteX151" fmla="*/ 323335 w 751703"/>
              <a:gd name="connsiteY151" fmla="*/ 214184 h 731108"/>
              <a:gd name="connsiteX152" fmla="*/ 333632 w 751703"/>
              <a:gd name="connsiteY152" fmla="*/ 212124 h 731108"/>
              <a:gd name="connsiteX153" fmla="*/ 362465 w 751703"/>
              <a:gd name="connsiteY153" fmla="*/ 236838 h 731108"/>
              <a:gd name="connsiteX154" fmla="*/ 372762 w 751703"/>
              <a:gd name="connsiteY154" fmla="*/ 230659 h 731108"/>
              <a:gd name="connsiteX155" fmla="*/ 364524 w 751703"/>
              <a:gd name="connsiteY155" fmla="*/ 193589 h 731108"/>
              <a:gd name="connsiteX156" fmla="*/ 370703 w 751703"/>
              <a:gd name="connsiteY156" fmla="*/ 185351 h 731108"/>
              <a:gd name="connsiteX157" fmla="*/ 376881 w 751703"/>
              <a:gd name="connsiteY157" fmla="*/ 175054 h 731108"/>
              <a:gd name="connsiteX158" fmla="*/ 381000 w 751703"/>
              <a:gd name="connsiteY158" fmla="*/ 164757 h 731108"/>
              <a:gd name="connsiteX159" fmla="*/ 418070 w 751703"/>
              <a:gd name="connsiteY159" fmla="*/ 152400 h 731108"/>
              <a:gd name="connsiteX160" fmla="*/ 418070 w 751703"/>
              <a:gd name="connsiteY160" fmla="*/ 140043 h 731108"/>
              <a:gd name="connsiteX161" fmla="*/ 387178 w 751703"/>
              <a:gd name="connsiteY161" fmla="*/ 129746 h 731108"/>
              <a:gd name="connsiteX162" fmla="*/ 383059 w 751703"/>
              <a:gd name="connsiteY162" fmla="*/ 125627 h 731108"/>
              <a:gd name="connsiteX163" fmla="*/ 374822 w 751703"/>
              <a:gd name="connsiteY163" fmla="*/ 115330 h 731108"/>
              <a:gd name="connsiteX164" fmla="*/ 364524 w 751703"/>
              <a:gd name="connsiteY164" fmla="*/ 100914 h 731108"/>
              <a:gd name="connsiteX165" fmla="*/ 372762 w 751703"/>
              <a:gd name="connsiteY165" fmla="*/ 63843 h 731108"/>
              <a:gd name="connsiteX166" fmla="*/ 362465 w 751703"/>
              <a:gd name="connsiteY166" fmla="*/ 57665 h 731108"/>
              <a:gd name="connsiteX167" fmla="*/ 333632 w 751703"/>
              <a:gd name="connsiteY167" fmla="*/ 82378 h 731108"/>
              <a:gd name="connsiteX168" fmla="*/ 323335 w 751703"/>
              <a:gd name="connsiteY168" fmla="*/ 82378 h 731108"/>
              <a:gd name="connsiteX169" fmla="*/ 313038 w 751703"/>
              <a:gd name="connsiteY169" fmla="*/ 82378 h 731108"/>
              <a:gd name="connsiteX170" fmla="*/ 302740 w 751703"/>
              <a:gd name="connsiteY170" fmla="*/ 82378 h 731108"/>
              <a:gd name="connsiteX171" fmla="*/ 278027 w 751703"/>
              <a:gd name="connsiteY171" fmla="*/ 0 h 731108"/>
              <a:gd name="connsiteX172" fmla="*/ 317157 w 751703"/>
              <a:gd name="connsiteY172" fmla="*/ 35011 h 731108"/>
              <a:gd name="connsiteX173" fmla="*/ 356286 w 751703"/>
              <a:gd name="connsiteY173" fmla="*/ 0 h 731108"/>
              <a:gd name="connsiteX174" fmla="*/ 426308 w 751703"/>
              <a:gd name="connsiteY174" fmla="*/ 41189 h 731108"/>
              <a:gd name="connsiteX175" fmla="*/ 416011 w 751703"/>
              <a:gd name="connsiteY175" fmla="*/ 90616 h 731108"/>
              <a:gd name="connsiteX176" fmla="*/ 465438 w 751703"/>
              <a:gd name="connsiteY176" fmla="*/ 105032 h 731108"/>
              <a:gd name="connsiteX177" fmla="*/ 465438 w 751703"/>
              <a:gd name="connsiteY177" fmla="*/ 187411 h 731108"/>
              <a:gd name="connsiteX178" fmla="*/ 416011 w 751703"/>
              <a:gd name="connsiteY178" fmla="*/ 203886 h 731108"/>
              <a:gd name="connsiteX179" fmla="*/ 426308 w 751703"/>
              <a:gd name="connsiteY179" fmla="*/ 255373 h 731108"/>
              <a:gd name="connsiteX180" fmla="*/ 356286 w 751703"/>
              <a:gd name="connsiteY180" fmla="*/ 296562 h 731108"/>
              <a:gd name="connsiteX181" fmla="*/ 317157 w 751703"/>
              <a:gd name="connsiteY181" fmla="*/ 261551 h 731108"/>
              <a:gd name="connsiteX182" fmla="*/ 278027 w 751703"/>
              <a:gd name="connsiteY182" fmla="*/ 296562 h 731108"/>
              <a:gd name="connsiteX183" fmla="*/ 210065 w 751703"/>
              <a:gd name="connsiteY183" fmla="*/ 255373 h 731108"/>
              <a:gd name="connsiteX184" fmla="*/ 220362 w 751703"/>
              <a:gd name="connsiteY184" fmla="*/ 205946 h 731108"/>
              <a:gd name="connsiteX185" fmla="*/ 170935 w 751703"/>
              <a:gd name="connsiteY185" fmla="*/ 189470 h 731108"/>
              <a:gd name="connsiteX186" fmla="*/ 170935 w 751703"/>
              <a:gd name="connsiteY186" fmla="*/ 107092 h 731108"/>
              <a:gd name="connsiteX187" fmla="*/ 220362 w 751703"/>
              <a:gd name="connsiteY187" fmla="*/ 90616 h 731108"/>
              <a:gd name="connsiteX188" fmla="*/ 210065 w 751703"/>
              <a:gd name="connsiteY188" fmla="*/ 41189 h 731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751703" h="731108">
                <a:moveTo>
                  <a:pt x="512805" y="463378"/>
                </a:moveTo>
                <a:cubicBezTo>
                  <a:pt x="500448" y="463378"/>
                  <a:pt x="490151" y="473675"/>
                  <a:pt x="490151" y="486032"/>
                </a:cubicBezTo>
                <a:cubicBezTo>
                  <a:pt x="490151" y="498389"/>
                  <a:pt x="500448" y="508686"/>
                  <a:pt x="512805" y="508686"/>
                </a:cubicBezTo>
                <a:cubicBezTo>
                  <a:pt x="525161" y="508686"/>
                  <a:pt x="535459" y="498389"/>
                  <a:pt x="535459" y="486032"/>
                </a:cubicBezTo>
                <a:cubicBezTo>
                  <a:pt x="535459" y="473675"/>
                  <a:pt x="525161" y="463378"/>
                  <a:pt x="512805" y="463378"/>
                </a:cubicBezTo>
                <a:close/>
                <a:moveTo>
                  <a:pt x="512805" y="418070"/>
                </a:moveTo>
                <a:cubicBezTo>
                  <a:pt x="551934" y="418070"/>
                  <a:pt x="582826" y="448962"/>
                  <a:pt x="582826" y="488092"/>
                </a:cubicBezTo>
                <a:cubicBezTo>
                  <a:pt x="582826" y="527221"/>
                  <a:pt x="549875" y="558113"/>
                  <a:pt x="512805" y="558113"/>
                </a:cubicBezTo>
                <a:cubicBezTo>
                  <a:pt x="473675" y="558113"/>
                  <a:pt x="442783" y="527221"/>
                  <a:pt x="442783" y="488092"/>
                </a:cubicBezTo>
                <a:cubicBezTo>
                  <a:pt x="442783" y="448962"/>
                  <a:pt x="473675" y="418070"/>
                  <a:pt x="512805" y="418070"/>
                </a:cubicBezTo>
                <a:close/>
                <a:moveTo>
                  <a:pt x="131805" y="378940"/>
                </a:moveTo>
                <a:cubicBezTo>
                  <a:pt x="144162" y="378940"/>
                  <a:pt x="154459" y="389237"/>
                  <a:pt x="154459" y="401594"/>
                </a:cubicBezTo>
                <a:cubicBezTo>
                  <a:pt x="154459" y="413951"/>
                  <a:pt x="144162" y="424248"/>
                  <a:pt x="131805" y="424248"/>
                </a:cubicBezTo>
                <a:cubicBezTo>
                  <a:pt x="119448" y="424248"/>
                  <a:pt x="109151" y="413951"/>
                  <a:pt x="109151" y="401594"/>
                </a:cubicBezTo>
                <a:cubicBezTo>
                  <a:pt x="109151" y="389237"/>
                  <a:pt x="119448" y="378940"/>
                  <a:pt x="131805" y="378940"/>
                </a:cubicBezTo>
                <a:close/>
                <a:moveTo>
                  <a:pt x="125627" y="315097"/>
                </a:moveTo>
                <a:lnTo>
                  <a:pt x="115330" y="348048"/>
                </a:lnTo>
                <a:lnTo>
                  <a:pt x="107092" y="352167"/>
                </a:lnTo>
                <a:cubicBezTo>
                  <a:pt x="105032" y="354226"/>
                  <a:pt x="100914" y="354226"/>
                  <a:pt x="98854" y="356286"/>
                </a:cubicBezTo>
                <a:lnTo>
                  <a:pt x="90616" y="362464"/>
                </a:lnTo>
                <a:lnTo>
                  <a:pt x="57665" y="356286"/>
                </a:lnTo>
                <a:lnTo>
                  <a:pt x="51486" y="366583"/>
                </a:lnTo>
                <a:lnTo>
                  <a:pt x="74141" y="389237"/>
                </a:lnTo>
                <a:lnTo>
                  <a:pt x="74141" y="420129"/>
                </a:lnTo>
                <a:lnTo>
                  <a:pt x="51486" y="444843"/>
                </a:lnTo>
                <a:lnTo>
                  <a:pt x="57665" y="451021"/>
                </a:lnTo>
                <a:lnTo>
                  <a:pt x="90616" y="444843"/>
                </a:lnTo>
                <a:lnTo>
                  <a:pt x="98854" y="451021"/>
                </a:lnTo>
                <a:cubicBezTo>
                  <a:pt x="102973" y="453080"/>
                  <a:pt x="105032" y="455140"/>
                  <a:pt x="109151" y="457199"/>
                </a:cubicBezTo>
                <a:lnTo>
                  <a:pt x="117389" y="461318"/>
                </a:lnTo>
                <a:lnTo>
                  <a:pt x="125627" y="492210"/>
                </a:lnTo>
                <a:lnTo>
                  <a:pt x="135924" y="492210"/>
                </a:lnTo>
                <a:lnTo>
                  <a:pt x="146222" y="459259"/>
                </a:lnTo>
                <a:lnTo>
                  <a:pt x="154459" y="455140"/>
                </a:lnTo>
                <a:cubicBezTo>
                  <a:pt x="158578" y="455140"/>
                  <a:pt x="162697" y="453080"/>
                  <a:pt x="164757" y="451021"/>
                </a:cubicBezTo>
                <a:lnTo>
                  <a:pt x="172995" y="446902"/>
                </a:lnTo>
                <a:lnTo>
                  <a:pt x="205946" y="451021"/>
                </a:lnTo>
                <a:lnTo>
                  <a:pt x="212124" y="440724"/>
                </a:lnTo>
                <a:lnTo>
                  <a:pt x="191530" y="416010"/>
                </a:lnTo>
                <a:lnTo>
                  <a:pt x="191530" y="385118"/>
                </a:lnTo>
                <a:lnTo>
                  <a:pt x="214184" y="360405"/>
                </a:lnTo>
                <a:lnTo>
                  <a:pt x="205946" y="354226"/>
                </a:lnTo>
                <a:lnTo>
                  <a:pt x="170935" y="360405"/>
                </a:lnTo>
                <a:lnTo>
                  <a:pt x="164757" y="356286"/>
                </a:lnTo>
                <a:cubicBezTo>
                  <a:pt x="162697" y="354226"/>
                  <a:pt x="160638" y="352167"/>
                  <a:pt x="156519" y="352167"/>
                </a:cubicBezTo>
                <a:lnTo>
                  <a:pt x="148281" y="348048"/>
                </a:lnTo>
                <a:lnTo>
                  <a:pt x="137984" y="315097"/>
                </a:lnTo>
                <a:close/>
                <a:moveTo>
                  <a:pt x="488092" y="290383"/>
                </a:moveTo>
                <a:lnTo>
                  <a:pt x="465438" y="360405"/>
                </a:lnTo>
                <a:lnTo>
                  <a:pt x="457200" y="364524"/>
                </a:lnTo>
                <a:cubicBezTo>
                  <a:pt x="451022" y="368643"/>
                  <a:pt x="442784" y="372762"/>
                  <a:pt x="436605" y="376881"/>
                </a:cubicBezTo>
                <a:lnTo>
                  <a:pt x="428367" y="383059"/>
                </a:lnTo>
                <a:lnTo>
                  <a:pt x="356286" y="368643"/>
                </a:lnTo>
                <a:lnTo>
                  <a:pt x="331573" y="409832"/>
                </a:lnTo>
                <a:lnTo>
                  <a:pt x="381000" y="463378"/>
                </a:lnTo>
                <a:lnTo>
                  <a:pt x="381000" y="473675"/>
                </a:lnTo>
                <a:cubicBezTo>
                  <a:pt x="381000" y="477794"/>
                  <a:pt x="381000" y="481913"/>
                  <a:pt x="381000" y="486032"/>
                </a:cubicBezTo>
                <a:lnTo>
                  <a:pt x="381000" y="510746"/>
                </a:lnTo>
                <a:lnTo>
                  <a:pt x="333632" y="564292"/>
                </a:lnTo>
                <a:lnTo>
                  <a:pt x="358346" y="605481"/>
                </a:lnTo>
                <a:lnTo>
                  <a:pt x="430427" y="591065"/>
                </a:lnTo>
                <a:lnTo>
                  <a:pt x="438665" y="597243"/>
                </a:lnTo>
                <a:cubicBezTo>
                  <a:pt x="444843" y="601362"/>
                  <a:pt x="451022" y="605481"/>
                  <a:pt x="459259" y="609600"/>
                </a:cubicBezTo>
                <a:lnTo>
                  <a:pt x="467497" y="613719"/>
                </a:lnTo>
                <a:lnTo>
                  <a:pt x="488092" y="683740"/>
                </a:lnTo>
                <a:lnTo>
                  <a:pt x="535459" y="683740"/>
                </a:lnTo>
                <a:lnTo>
                  <a:pt x="558113" y="613719"/>
                </a:lnTo>
                <a:lnTo>
                  <a:pt x="566351" y="609600"/>
                </a:lnTo>
                <a:cubicBezTo>
                  <a:pt x="572530" y="605481"/>
                  <a:pt x="580767" y="601362"/>
                  <a:pt x="586946" y="597243"/>
                </a:cubicBezTo>
                <a:lnTo>
                  <a:pt x="595184" y="591065"/>
                </a:lnTo>
                <a:lnTo>
                  <a:pt x="667265" y="605481"/>
                </a:lnTo>
                <a:lnTo>
                  <a:pt x="691978" y="564292"/>
                </a:lnTo>
                <a:lnTo>
                  <a:pt x="642551" y="508686"/>
                </a:lnTo>
                <a:lnTo>
                  <a:pt x="644611" y="496329"/>
                </a:lnTo>
                <a:cubicBezTo>
                  <a:pt x="644611" y="492211"/>
                  <a:pt x="644611" y="490151"/>
                  <a:pt x="644611" y="486032"/>
                </a:cubicBezTo>
                <a:lnTo>
                  <a:pt x="644611" y="483973"/>
                </a:lnTo>
                <a:cubicBezTo>
                  <a:pt x="644611" y="479854"/>
                  <a:pt x="644611" y="475735"/>
                  <a:pt x="644611" y="471616"/>
                </a:cubicBezTo>
                <a:lnTo>
                  <a:pt x="644611" y="461319"/>
                </a:lnTo>
                <a:lnTo>
                  <a:pt x="691978" y="407773"/>
                </a:lnTo>
                <a:lnTo>
                  <a:pt x="667265" y="366583"/>
                </a:lnTo>
                <a:lnTo>
                  <a:pt x="597243" y="383059"/>
                </a:lnTo>
                <a:lnTo>
                  <a:pt x="589005" y="376881"/>
                </a:lnTo>
                <a:cubicBezTo>
                  <a:pt x="582827" y="372762"/>
                  <a:pt x="576649" y="368643"/>
                  <a:pt x="568411" y="364524"/>
                </a:cubicBezTo>
                <a:lnTo>
                  <a:pt x="560173" y="360405"/>
                </a:lnTo>
                <a:lnTo>
                  <a:pt x="537519" y="290383"/>
                </a:lnTo>
                <a:close/>
                <a:moveTo>
                  <a:pt x="96795" y="271848"/>
                </a:moveTo>
                <a:lnTo>
                  <a:pt x="168876" y="271848"/>
                </a:lnTo>
                <a:lnTo>
                  <a:pt x="183292" y="317156"/>
                </a:lnTo>
                <a:lnTo>
                  <a:pt x="226541" y="306859"/>
                </a:lnTo>
                <a:lnTo>
                  <a:pt x="263611" y="368643"/>
                </a:lnTo>
                <a:lnTo>
                  <a:pt x="232719" y="403653"/>
                </a:lnTo>
                <a:lnTo>
                  <a:pt x="263611" y="438664"/>
                </a:lnTo>
                <a:lnTo>
                  <a:pt x="228600" y="500448"/>
                </a:lnTo>
                <a:lnTo>
                  <a:pt x="183292" y="492210"/>
                </a:lnTo>
                <a:lnTo>
                  <a:pt x="166816" y="533399"/>
                </a:lnTo>
                <a:lnTo>
                  <a:pt x="96795" y="533399"/>
                </a:lnTo>
                <a:lnTo>
                  <a:pt x="82378" y="490151"/>
                </a:lnTo>
                <a:lnTo>
                  <a:pt x="37070" y="498389"/>
                </a:lnTo>
                <a:lnTo>
                  <a:pt x="0" y="436605"/>
                </a:lnTo>
                <a:lnTo>
                  <a:pt x="30892" y="403653"/>
                </a:lnTo>
                <a:lnTo>
                  <a:pt x="0" y="368643"/>
                </a:lnTo>
                <a:lnTo>
                  <a:pt x="35011" y="306859"/>
                </a:lnTo>
                <a:lnTo>
                  <a:pt x="82378" y="315097"/>
                </a:lnTo>
                <a:close/>
                <a:moveTo>
                  <a:pt x="455140" y="238897"/>
                </a:moveTo>
                <a:lnTo>
                  <a:pt x="572530" y="238897"/>
                </a:lnTo>
                <a:lnTo>
                  <a:pt x="599303" y="321275"/>
                </a:lnTo>
                <a:cubicBezTo>
                  <a:pt x="603422" y="323335"/>
                  <a:pt x="605481" y="325394"/>
                  <a:pt x="607540" y="327454"/>
                </a:cubicBezTo>
                <a:lnTo>
                  <a:pt x="691978" y="310978"/>
                </a:lnTo>
                <a:lnTo>
                  <a:pt x="751703" y="411892"/>
                </a:lnTo>
                <a:lnTo>
                  <a:pt x="694038" y="477794"/>
                </a:lnTo>
                <a:cubicBezTo>
                  <a:pt x="694038" y="479854"/>
                  <a:pt x="694038" y="481913"/>
                  <a:pt x="694038" y="483973"/>
                </a:cubicBezTo>
                <a:cubicBezTo>
                  <a:pt x="694038" y="486032"/>
                  <a:pt x="694038" y="488092"/>
                  <a:pt x="694038" y="490151"/>
                </a:cubicBezTo>
                <a:lnTo>
                  <a:pt x="751703" y="553994"/>
                </a:lnTo>
                <a:lnTo>
                  <a:pt x="694038" y="654908"/>
                </a:lnTo>
                <a:lnTo>
                  <a:pt x="607540" y="638432"/>
                </a:lnTo>
                <a:cubicBezTo>
                  <a:pt x="605481" y="640492"/>
                  <a:pt x="601362" y="642551"/>
                  <a:pt x="599303" y="644611"/>
                </a:cubicBezTo>
                <a:lnTo>
                  <a:pt x="570470" y="731108"/>
                </a:lnTo>
                <a:lnTo>
                  <a:pt x="453081" y="731108"/>
                </a:lnTo>
                <a:lnTo>
                  <a:pt x="426308" y="646670"/>
                </a:lnTo>
                <a:cubicBezTo>
                  <a:pt x="424249" y="644611"/>
                  <a:pt x="420130" y="642551"/>
                  <a:pt x="418070" y="640492"/>
                </a:cubicBezTo>
                <a:lnTo>
                  <a:pt x="331573" y="656967"/>
                </a:lnTo>
                <a:lnTo>
                  <a:pt x="273908" y="556054"/>
                </a:lnTo>
                <a:lnTo>
                  <a:pt x="333632" y="490151"/>
                </a:lnTo>
                <a:lnTo>
                  <a:pt x="333632" y="483973"/>
                </a:lnTo>
                <a:cubicBezTo>
                  <a:pt x="333632" y="481913"/>
                  <a:pt x="333632" y="479854"/>
                  <a:pt x="333632" y="477794"/>
                </a:cubicBezTo>
                <a:lnTo>
                  <a:pt x="275967" y="411892"/>
                </a:lnTo>
                <a:lnTo>
                  <a:pt x="333632" y="310978"/>
                </a:lnTo>
                <a:lnTo>
                  <a:pt x="420130" y="327454"/>
                </a:lnTo>
                <a:cubicBezTo>
                  <a:pt x="422189" y="325394"/>
                  <a:pt x="426308" y="323335"/>
                  <a:pt x="428367" y="321275"/>
                </a:cubicBezTo>
                <a:close/>
                <a:moveTo>
                  <a:pt x="319216" y="121508"/>
                </a:moveTo>
                <a:cubicBezTo>
                  <a:pt x="327454" y="121508"/>
                  <a:pt x="335692" y="125627"/>
                  <a:pt x="339811" y="131805"/>
                </a:cubicBezTo>
                <a:cubicBezTo>
                  <a:pt x="345989" y="144162"/>
                  <a:pt x="341870" y="158578"/>
                  <a:pt x="329513" y="166816"/>
                </a:cubicBezTo>
                <a:cubicBezTo>
                  <a:pt x="325394" y="168876"/>
                  <a:pt x="321276" y="170935"/>
                  <a:pt x="317157" y="170935"/>
                </a:cubicBezTo>
                <a:cubicBezTo>
                  <a:pt x="306859" y="170935"/>
                  <a:pt x="298621" y="166816"/>
                  <a:pt x="294503" y="158578"/>
                </a:cubicBezTo>
                <a:cubicBezTo>
                  <a:pt x="288324" y="146222"/>
                  <a:pt x="292443" y="131805"/>
                  <a:pt x="304800" y="123567"/>
                </a:cubicBezTo>
                <a:cubicBezTo>
                  <a:pt x="308919" y="121508"/>
                  <a:pt x="313038" y="121508"/>
                  <a:pt x="319216" y="121508"/>
                </a:cubicBezTo>
                <a:close/>
                <a:moveTo>
                  <a:pt x="273908" y="57665"/>
                </a:moveTo>
                <a:lnTo>
                  <a:pt x="263611" y="63843"/>
                </a:lnTo>
                <a:lnTo>
                  <a:pt x="271849" y="100914"/>
                </a:lnTo>
                <a:lnTo>
                  <a:pt x="265670" y="109151"/>
                </a:lnTo>
                <a:cubicBezTo>
                  <a:pt x="263611" y="111211"/>
                  <a:pt x="261551" y="115330"/>
                  <a:pt x="259492" y="119449"/>
                </a:cubicBezTo>
                <a:lnTo>
                  <a:pt x="255373" y="129746"/>
                </a:lnTo>
                <a:lnTo>
                  <a:pt x="220362" y="142103"/>
                </a:lnTo>
                <a:lnTo>
                  <a:pt x="220362" y="154459"/>
                </a:lnTo>
                <a:lnTo>
                  <a:pt x="255373" y="166816"/>
                </a:lnTo>
                <a:lnTo>
                  <a:pt x="265670" y="187411"/>
                </a:lnTo>
                <a:lnTo>
                  <a:pt x="271849" y="195649"/>
                </a:lnTo>
                <a:lnTo>
                  <a:pt x="263611" y="232719"/>
                </a:lnTo>
                <a:lnTo>
                  <a:pt x="273908" y="238897"/>
                </a:lnTo>
                <a:lnTo>
                  <a:pt x="302740" y="214184"/>
                </a:lnTo>
                <a:lnTo>
                  <a:pt x="313038" y="214184"/>
                </a:lnTo>
                <a:cubicBezTo>
                  <a:pt x="317157" y="214184"/>
                  <a:pt x="321276" y="214184"/>
                  <a:pt x="323335" y="214184"/>
                </a:cubicBezTo>
                <a:lnTo>
                  <a:pt x="333632" y="212124"/>
                </a:lnTo>
                <a:lnTo>
                  <a:pt x="362465" y="236838"/>
                </a:lnTo>
                <a:lnTo>
                  <a:pt x="372762" y="230659"/>
                </a:lnTo>
                <a:lnTo>
                  <a:pt x="364524" y="193589"/>
                </a:lnTo>
                <a:lnTo>
                  <a:pt x="370703" y="185351"/>
                </a:lnTo>
                <a:cubicBezTo>
                  <a:pt x="372762" y="181232"/>
                  <a:pt x="374822" y="179173"/>
                  <a:pt x="376881" y="175054"/>
                </a:cubicBezTo>
                <a:lnTo>
                  <a:pt x="381000" y="164757"/>
                </a:lnTo>
                <a:lnTo>
                  <a:pt x="418070" y="152400"/>
                </a:lnTo>
                <a:lnTo>
                  <a:pt x="418070" y="140043"/>
                </a:lnTo>
                <a:lnTo>
                  <a:pt x="387178" y="129746"/>
                </a:lnTo>
                <a:lnTo>
                  <a:pt x="383059" y="125627"/>
                </a:lnTo>
                <a:cubicBezTo>
                  <a:pt x="378940" y="121508"/>
                  <a:pt x="376881" y="117389"/>
                  <a:pt x="374822" y="115330"/>
                </a:cubicBezTo>
                <a:lnTo>
                  <a:pt x="364524" y="100914"/>
                </a:lnTo>
                <a:lnTo>
                  <a:pt x="372762" y="63843"/>
                </a:lnTo>
                <a:lnTo>
                  <a:pt x="362465" y="57665"/>
                </a:lnTo>
                <a:lnTo>
                  <a:pt x="333632" y="82378"/>
                </a:lnTo>
                <a:lnTo>
                  <a:pt x="323335" y="82378"/>
                </a:lnTo>
                <a:cubicBezTo>
                  <a:pt x="319216" y="82378"/>
                  <a:pt x="315097" y="82378"/>
                  <a:pt x="313038" y="82378"/>
                </a:cubicBezTo>
                <a:lnTo>
                  <a:pt x="302740" y="82378"/>
                </a:lnTo>
                <a:close/>
                <a:moveTo>
                  <a:pt x="278027" y="0"/>
                </a:moveTo>
                <a:lnTo>
                  <a:pt x="317157" y="35011"/>
                </a:lnTo>
                <a:lnTo>
                  <a:pt x="356286" y="0"/>
                </a:lnTo>
                <a:lnTo>
                  <a:pt x="426308" y="41189"/>
                </a:lnTo>
                <a:lnTo>
                  <a:pt x="416011" y="90616"/>
                </a:lnTo>
                <a:lnTo>
                  <a:pt x="465438" y="105032"/>
                </a:lnTo>
                <a:lnTo>
                  <a:pt x="465438" y="187411"/>
                </a:lnTo>
                <a:lnTo>
                  <a:pt x="416011" y="203886"/>
                </a:lnTo>
                <a:lnTo>
                  <a:pt x="426308" y="255373"/>
                </a:lnTo>
                <a:lnTo>
                  <a:pt x="356286" y="296562"/>
                </a:lnTo>
                <a:lnTo>
                  <a:pt x="317157" y="261551"/>
                </a:lnTo>
                <a:lnTo>
                  <a:pt x="278027" y="296562"/>
                </a:lnTo>
                <a:lnTo>
                  <a:pt x="210065" y="255373"/>
                </a:lnTo>
                <a:lnTo>
                  <a:pt x="220362" y="205946"/>
                </a:lnTo>
                <a:lnTo>
                  <a:pt x="170935" y="189470"/>
                </a:lnTo>
                <a:lnTo>
                  <a:pt x="170935" y="107092"/>
                </a:lnTo>
                <a:lnTo>
                  <a:pt x="220362" y="90616"/>
                </a:lnTo>
                <a:lnTo>
                  <a:pt x="210065" y="41189"/>
                </a:lnTo>
                <a:close/>
              </a:path>
            </a:pathLst>
          </a:custGeom>
          <a:solidFill>
            <a:srgbClr val="7823DC"/>
          </a:solidFill>
          <a:ln w="20595" cap="flat">
            <a:noFill/>
            <a:prstDash val="solid"/>
            <a:miter/>
          </a:ln>
        </p:spPr>
        <p:txBody>
          <a:bodyPr wrap="square" rtlCol="0" anchor="ctr">
            <a:noAutofit/>
          </a:bodyPr>
          <a:lstStyle/>
          <a:p>
            <a:pPr>
              <a:lnSpc>
                <a:spcPct val="90000"/>
              </a:lnSpc>
            </a:pPr>
            <a:endParaRPr lang="en-US" sz="600"/>
          </a:p>
        </p:txBody>
      </p:sp>
      <p:pic>
        <p:nvPicPr>
          <p:cNvPr id="34" name="Graphic 33">
            <a:extLst>
              <a:ext uri="{FF2B5EF4-FFF2-40B4-BE49-F238E27FC236}">
                <a16:creationId xmlns:a16="http://schemas.microsoft.com/office/drawing/2014/main" id="{DD371561-0EA0-CA94-C326-2A63BFE677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42366" y="5843452"/>
            <a:ext cx="765094" cy="755034"/>
          </a:xfrm>
          <a:prstGeom prst="rect">
            <a:avLst/>
          </a:prstGeom>
        </p:spPr>
      </p:pic>
      <p:pic>
        <p:nvPicPr>
          <p:cNvPr id="35" name="Graphic 34">
            <a:extLst>
              <a:ext uri="{FF2B5EF4-FFF2-40B4-BE49-F238E27FC236}">
                <a16:creationId xmlns:a16="http://schemas.microsoft.com/office/drawing/2014/main" id="{30D24BC9-63E4-813D-D955-B34EEE595D5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53000" y="2565400"/>
            <a:ext cx="762000" cy="762000"/>
          </a:xfrm>
          <a:prstGeom prst="rect">
            <a:avLst/>
          </a:prstGeom>
        </p:spPr>
      </p:pic>
      <p:pic>
        <p:nvPicPr>
          <p:cNvPr id="37" name="Picture 36" descr="A group of people standing in a room&#10;&#10;AI-generated content may be incorrect.">
            <a:extLst>
              <a:ext uri="{FF2B5EF4-FFF2-40B4-BE49-F238E27FC236}">
                <a16:creationId xmlns:a16="http://schemas.microsoft.com/office/drawing/2014/main" id="{3D863E68-4ADD-01A0-E419-A0D0B86CC572}"/>
              </a:ext>
            </a:extLst>
          </p:cNvPr>
          <p:cNvPicPr>
            <a:picLocks noChangeAspect="1"/>
          </p:cNvPicPr>
          <p:nvPr/>
        </p:nvPicPr>
        <p:blipFill rotWithShape="1">
          <a:blip r:embed="rId14">
            <a:extLst>
              <a:ext uri="{28A0092B-C50C-407E-A947-70E740481C1C}">
                <a14:useLocalDpi xmlns:a14="http://schemas.microsoft.com/office/drawing/2010/main" val="0"/>
              </a:ext>
            </a:extLst>
          </a:blip>
          <a:srcRect l="19287" t="3931" r="19287" b="3931"/>
          <a:stretch/>
        </p:blipFill>
        <p:spPr>
          <a:xfrm>
            <a:off x="9144000" y="3429000"/>
            <a:ext cx="3048000" cy="3429000"/>
          </a:xfrm>
          <a:prstGeom prst="rect">
            <a:avLst/>
          </a:prstGeom>
        </p:spPr>
      </p:pic>
    </p:spTree>
    <p:extLst>
      <p:ext uri="{BB962C8B-B14F-4D97-AF65-F5344CB8AC3E}">
        <p14:creationId xmlns:p14="http://schemas.microsoft.com/office/powerpoint/2010/main" val="2198302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441B9F7-CE4D-BB98-8ADE-39B7C593C2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B441B9F7-CE4D-BB98-8ADE-39B7C593C2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287A85-8E9F-6992-FBA1-427F8F9B8E4E}"/>
              </a:ext>
            </a:extLst>
          </p:cNvPr>
          <p:cNvSpPr>
            <a:spLocks noGrp="1"/>
          </p:cNvSpPr>
          <p:nvPr>
            <p:ph type="title"/>
          </p:nvPr>
        </p:nvSpPr>
        <p:spPr/>
        <p:txBody>
          <a:bodyPr vert="horz"/>
          <a:lstStyle/>
          <a:p>
            <a:r>
              <a:rPr lang="en-US" dirty="0"/>
              <a:t>Next steps for client is to implement our strategic recommendations</a:t>
            </a:r>
          </a:p>
        </p:txBody>
      </p:sp>
      <p:sp>
        <p:nvSpPr>
          <p:cNvPr id="62" name="Rectangle 61">
            <a:extLst>
              <a:ext uri="{FF2B5EF4-FFF2-40B4-BE49-F238E27FC236}">
                <a16:creationId xmlns:a16="http://schemas.microsoft.com/office/drawing/2014/main" id="{2FBA674E-EE7E-66A5-3BA5-A3959DE85651}"/>
              </a:ext>
            </a:extLst>
          </p:cNvPr>
          <p:cNvSpPr/>
          <p:nvPr/>
        </p:nvSpPr>
        <p:spPr>
          <a:xfrm>
            <a:off x="3444008" y="378024"/>
            <a:ext cx="8382000" cy="22159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600" b="1" dirty="0">
                <a:solidFill>
                  <a:schemeClr val="tx2"/>
                </a:solidFill>
                <a:latin typeface="Arial" panose="020B0604020202020204" pitchFamily="34" charset="0"/>
              </a:rPr>
              <a:t>Potential next steps for the client</a:t>
            </a:r>
          </a:p>
        </p:txBody>
      </p:sp>
      <p:grpSp>
        <p:nvGrpSpPr>
          <p:cNvPr id="63" name="Group 62">
            <a:extLst>
              <a:ext uri="{FF2B5EF4-FFF2-40B4-BE49-F238E27FC236}">
                <a16:creationId xmlns:a16="http://schemas.microsoft.com/office/drawing/2014/main" id="{F2F47CE6-9DA0-09F4-B42F-4307902FF227}"/>
              </a:ext>
            </a:extLst>
          </p:cNvPr>
          <p:cNvGrpSpPr/>
          <p:nvPr/>
        </p:nvGrpSpPr>
        <p:grpSpPr>
          <a:xfrm>
            <a:off x="3059119" y="5567305"/>
            <a:ext cx="9060726" cy="901249"/>
            <a:chOff x="-3174" y="5913762"/>
            <a:chExt cx="12195174" cy="479425"/>
          </a:xfrm>
        </p:grpSpPr>
        <p:sp>
          <p:nvSpPr>
            <p:cNvPr id="448" name="Right Triangle 447">
              <a:extLst>
                <a:ext uri="{FF2B5EF4-FFF2-40B4-BE49-F238E27FC236}">
                  <a16:creationId xmlns:a16="http://schemas.microsoft.com/office/drawing/2014/main" id="{5A9C2E1D-6B9A-E757-479D-A9A8AA21A098}"/>
                </a:ext>
              </a:extLst>
            </p:cNvPr>
            <p:cNvSpPr/>
            <p:nvPr/>
          </p:nvSpPr>
          <p:spPr>
            <a:xfrm>
              <a:off x="11811000" y="5913762"/>
              <a:ext cx="381000" cy="381000"/>
            </a:xfrm>
            <a:prstGeom prst="rtTriangle">
              <a:avLst/>
            </a:prstGeom>
            <a:solidFill>
              <a:schemeClr val="accent1">
                <a:lumMod val="5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120" tIns="71120" rIns="71120" bIns="71120" numCol="1" spcCol="0" rtlCol="0" fromWordArt="0" anchor="t" anchorCtr="0" forceAA="0" compatLnSpc="1">
              <a:prstTxWarp prst="textNoShape">
                <a:avLst/>
              </a:prstTxWarp>
              <a:noAutofit/>
            </a:bodyPr>
            <a:lstStyle/>
            <a:p>
              <a:pPr algn="l">
                <a:lnSpc>
                  <a:spcPct val="90000"/>
                </a:lnSpc>
                <a:spcBef>
                  <a:spcPts val="900"/>
                </a:spcBef>
                <a:buClr>
                  <a:schemeClr val="bg2"/>
                </a:buClr>
              </a:pPr>
              <a:endParaRPr lang="en-US" sz="1400">
                <a:solidFill>
                  <a:schemeClr val="accent2"/>
                </a:solidFill>
                <a:latin typeface="Arial" pitchFamily="34" charset="0"/>
                <a:cs typeface="Arial" pitchFamily="34" charset="0"/>
              </a:endParaRPr>
            </a:p>
          </p:txBody>
        </p:sp>
        <p:sp>
          <p:nvSpPr>
            <p:cNvPr id="449" name="Right Triangle 448">
              <a:extLst>
                <a:ext uri="{FF2B5EF4-FFF2-40B4-BE49-F238E27FC236}">
                  <a16:creationId xmlns:a16="http://schemas.microsoft.com/office/drawing/2014/main" id="{FDA7460C-380D-9D42-C237-7D7D3F19F63C}"/>
                </a:ext>
              </a:extLst>
            </p:cNvPr>
            <p:cNvSpPr/>
            <p:nvPr/>
          </p:nvSpPr>
          <p:spPr>
            <a:xfrm flipH="1">
              <a:off x="-3174" y="5913762"/>
              <a:ext cx="381000" cy="381000"/>
            </a:xfrm>
            <a:prstGeom prst="rtTriangle">
              <a:avLst/>
            </a:prstGeom>
            <a:solidFill>
              <a:schemeClr val="accent1">
                <a:lumMod val="5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120" tIns="71120" rIns="71120" bIns="71120" numCol="1" spcCol="0" rtlCol="0" fromWordArt="0" anchor="t" anchorCtr="0" forceAA="0" compatLnSpc="1">
              <a:prstTxWarp prst="textNoShape">
                <a:avLst/>
              </a:prstTxWarp>
              <a:noAutofit/>
            </a:bodyPr>
            <a:lstStyle/>
            <a:p>
              <a:pPr algn="l">
                <a:lnSpc>
                  <a:spcPct val="90000"/>
                </a:lnSpc>
                <a:spcBef>
                  <a:spcPts val="900"/>
                </a:spcBef>
                <a:buClr>
                  <a:schemeClr val="bg2"/>
                </a:buClr>
              </a:pPr>
              <a:endParaRPr lang="en-US" sz="1400">
                <a:solidFill>
                  <a:schemeClr val="accent2"/>
                </a:solidFill>
                <a:latin typeface="Arial" pitchFamily="34" charset="0"/>
                <a:cs typeface="Arial" pitchFamily="34" charset="0"/>
              </a:endParaRPr>
            </a:p>
          </p:txBody>
        </p:sp>
        <p:sp>
          <p:nvSpPr>
            <p:cNvPr id="450" name="Rectangle 449">
              <a:extLst>
                <a:ext uri="{FF2B5EF4-FFF2-40B4-BE49-F238E27FC236}">
                  <a16:creationId xmlns:a16="http://schemas.microsoft.com/office/drawing/2014/main" id="{080842C6-0CD6-C47A-21B6-99978F2DE8EF}"/>
                </a:ext>
              </a:extLst>
            </p:cNvPr>
            <p:cNvSpPr/>
            <p:nvPr/>
          </p:nvSpPr>
          <p:spPr>
            <a:xfrm>
              <a:off x="0" y="6012186"/>
              <a:ext cx="12188825" cy="381001"/>
            </a:xfrm>
            <a:prstGeom prst="rect">
              <a:avLst/>
            </a:prstGeom>
            <a:gradFill>
              <a:gsLst>
                <a:gs pos="0">
                  <a:schemeClr val="bg1">
                    <a:lumMod val="85000"/>
                  </a:schemeClr>
                </a:gs>
                <a:gs pos="100000">
                  <a:schemeClr val="bg1">
                    <a:lumMod val="65000"/>
                  </a:schemeClr>
                </a:gs>
              </a:gsLst>
              <a:lin ang="60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120" tIns="71120" rIns="71120" bIns="711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900"/>
                </a:spcBef>
                <a:spcAft>
                  <a:spcPts val="0"/>
                </a:spcAft>
                <a:buClr>
                  <a:srgbClr val="A7A7A7"/>
                </a:buClr>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itchFamily="34" charset="0"/>
              </a:endParaRPr>
            </a:p>
          </p:txBody>
        </p:sp>
        <p:sp>
          <p:nvSpPr>
            <p:cNvPr id="451" name="Rectangle 450">
              <a:extLst>
                <a:ext uri="{FF2B5EF4-FFF2-40B4-BE49-F238E27FC236}">
                  <a16:creationId xmlns:a16="http://schemas.microsoft.com/office/drawing/2014/main" id="{3F9682D7-C340-F990-E122-06575F3160EE}"/>
                </a:ext>
              </a:extLst>
            </p:cNvPr>
            <p:cNvSpPr/>
            <p:nvPr/>
          </p:nvSpPr>
          <p:spPr>
            <a:xfrm>
              <a:off x="328385" y="6012186"/>
              <a:ext cx="11532054" cy="381001"/>
            </a:xfrm>
            <a:prstGeom prst="rect">
              <a:avLst/>
            </a:prstGeom>
            <a:solidFill>
              <a:schemeClr val="bg1">
                <a:lumMod val="65000"/>
                <a:alpha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120" tIns="71120" rIns="71120" bIns="711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900"/>
                </a:spcBef>
                <a:spcAft>
                  <a:spcPts val="0"/>
                </a:spcAft>
                <a:buClr>
                  <a:srgbClr val="A7A7A7"/>
                </a:buClr>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itchFamily="34" charset="0"/>
              </a:endParaRPr>
            </a:p>
          </p:txBody>
        </p:sp>
      </p:grpSp>
      <p:sp>
        <p:nvSpPr>
          <p:cNvPr id="452" name="Rectangle 451">
            <a:extLst>
              <a:ext uri="{FF2B5EF4-FFF2-40B4-BE49-F238E27FC236}">
                <a16:creationId xmlns:a16="http://schemas.microsoft.com/office/drawing/2014/main" id="{1A467455-E807-2ED7-32D3-3C2D5A3C924B}"/>
              </a:ext>
            </a:extLst>
          </p:cNvPr>
          <p:cNvSpPr/>
          <p:nvPr/>
        </p:nvSpPr>
        <p:spPr>
          <a:xfrm>
            <a:off x="3369487" y="5567292"/>
            <a:ext cx="8456521" cy="1014530"/>
          </a:xfrm>
          <a:prstGeom prst="rect">
            <a:avLst/>
          </a:prstGeom>
          <a:solidFill>
            <a:schemeClr val="bg2">
              <a:lumMod val="5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120" tIns="71120" rIns="71120" bIns="711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900"/>
              </a:spcBef>
              <a:spcAft>
                <a:spcPts val="0"/>
              </a:spcAft>
              <a:buClr>
                <a:srgbClr val="A7A7A7"/>
              </a:buClr>
              <a:buSzTx/>
              <a:buFontTx/>
              <a:buNone/>
              <a:tabLst/>
              <a:defRPr/>
            </a:pPr>
            <a:endParaRPr kumimoji="0" lang="en-US" sz="1400" b="1" u="none" strike="noStrike" kern="1200" cap="none" spc="0" normalizeH="0" baseline="0" noProof="0">
              <a:ln>
                <a:noFill/>
              </a:ln>
              <a:solidFill>
                <a:srgbClr val="FFFFFF"/>
              </a:solidFill>
              <a:effectLst/>
              <a:uLnTx/>
              <a:uFillTx/>
              <a:latin typeface="Arial" panose="020B0604020202020204" pitchFamily="34" charset="0"/>
              <a:ea typeface="+mn-ea"/>
              <a:cs typeface="Arial" pitchFamily="34" charset="0"/>
            </a:endParaRPr>
          </a:p>
        </p:txBody>
      </p:sp>
      <p:sp>
        <p:nvSpPr>
          <p:cNvPr id="453" name="Rectangle 452">
            <a:extLst>
              <a:ext uri="{FF2B5EF4-FFF2-40B4-BE49-F238E27FC236}">
                <a16:creationId xmlns:a16="http://schemas.microsoft.com/office/drawing/2014/main" id="{20F42F78-E159-C443-7F55-6C70CF779AB1}"/>
              </a:ext>
            </a:extLst>
          </p:cNvPr>
          <p:cNvSpPr/>
          <p:nvPr/>
        </p:nvSpPr>
        <p:spPr>
          <a:xfrm>
            <a:off x="3921262" y="6131198"/>
            <a:ext cx="2720134" cy="37361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ctr">
              <a:lnSpc>
                <a:spcPct val="90000"/>
              </a:lnSpc>
            </a:pPr>
            <a:r>
              <a:rPr lang="en-US" sz="1200" b="1" dirty="0">
                <a:solidFill>
                  <a:schemeClr val="bg1"/>
                </a:solidFill>
              </a:rPr>
              <a:t>Market Sensing</a:t>
            </a:r>
          </a:p>
        </p:txBody>
      </p:sp>
      <p:sp>
        <p:nvSpPr>
          <p:cNvPr id="457" name="Rectangle 456">
            <a:extLst>
              <a:ext uri="{FF2B5EF4-FFF2-40B4-BE49-F238E27FC236}">
                <a16:creationId xmlns:a16="http://schemas.microsoft.com/office/drawing/2014/main" id="{DAECA3E3-2E9B-023E-D8DD-11073E5F78C9}"/>
              </a:ext>
            </a:extLst>
          </p:cNvPr>
          <p:cNvSpPr/>
          <p:nvPr/>
        </p:nvSpPr>
        <p:spPr>
          <a:xfrm>
            <a:off x="9233627" y="6131198"/>
            <a:ext cx="2121211" cy="37361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ctr">
              <a:lnSpc>
                <a:spcPct val="90000"/>
              </a:lnSpc>
            </a:pPr>
            <a:r>
              <a:rPr lang="en-US" sz="1200" b="1" dirty="0">
                <a:solidFill>
                  <a:schemeClr val="bg1"/>
                </a:solidFill>
              </a:rPr>
              <a:t>Product Differentiation</a:t>
            </a:r>
          </a:p>
        </p:txBody>
      </p:sp>
      <p:sp>
        <p:nvSpPr>
          <p:cNvPr id="459" name="Rectangle 458">
            <a:extLst>
              <a:ext uri="{FF2B5EF4-FFF2-40B4-BE49-F238E27FC236}">
                <a16:creationId xmlns:a16="http://schemas.microsoft.com/office/drawing/2014/main" id="{CBC3E541-D4A5-4368-BB7A-6F048CA874A4}"/>
              </a:ext>
            </a:extLst>
          </p:cNvPr>
          <p:cNvSpPr/>
          <p:nvPr/>
        </p:nvSpPr>
        <p:spPr>
          <a:xfrm>
            <a:off x="7086600" y="6131198"/>
            <a:ext cx="1584568" cy="37361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ctr">
              <a:lnSpc>
                <a:spcPct val="90000"/>
              </a:lnSpc>
            </a:pPr>
            <a:r>
              <a:rPr lang="en-US" sz="1200" b="1" dirty="0">
                <a:solidFill>
                  <a:schemeClr val="bg1"/>
                </a:solidFill>
              </a:rPr>
              <a:t>Tariff Environment</a:t>
            </a:r>
          </a:p>
        </p:txBody>
      </p:sp>
      <p:sp>
        <p:nvSpPr>
          <p:cNvPr id="461" name="TextBox 460">
            <a:extLst>
              <a:ext uri="{FF2B5EF4-FFF2-40B4-BE49-F238E27FC236}">
                <a16:creationId xmlns:a16="http://schemas.microsoft.com/office/drawing/2014/main" id="{B23321FA-1D5E-4010-26DC-449A0306635F}"/>
              </a:ext>
            </a:extLst>
          </p:cNvPr>
          <p:cNvSpPr txBox="1"/>
          <p:nvPr/>
        </p:nvSpPr>
        <p:spPr>
          <a:xfrm>
            <a:off x="3429000" y="5340720"/>
            <a:ext cx="3305451" cy="221599"/>
          </a:xfrm>
          <a:prstGeom prst="rect">
            <a:avLst/>
          </a:prstGeom>
          <a:noFill/>
        </p:spPr>
        <p:txBody>
          <a:bodyPr wrap="square" lIns="0" tIns="0" rIns="0" bIns="0" rtlCol="0">
            <a:spAutoFit/>
          </a:bodyPr>
          <a:lstStyle/>
          <a:p>
            <a:pPr algn="l">
              <a:lnSpc>
                <a:spcPct val="90000"/>
              </a:lnSpc>
            </a:pPr>
            <a:r>
              <a:rPr lang="en-US" sz="1600" b="1"/>
              <a:t>Success considerations</a:t>
            </a:r>
          </a:p>
        </p:txBody>
      </p:sp>
      <p:pic>
        <p:nvPicPr>
          <p:cNvPr id="462" name="Graphic 461">
            <a:extLst>
              <a:ext uri="{FF2B5EF4-FFF2-40B4-BE49-F238E27FC236}">
                <a16:creationId xmlns:a16="http://schemas.microsoft.com/office/drawing/2014/main" id="{B073D224-E47B-4524-A90D-07CFE93330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32700" y="5753100"/>
            <a:ext cx="365760" cy="365882"/>
          </a:xfrm>
          <a:prstGeom prst="rect">
            <a:avLst/>
          </a:prstGeom>
        </p:spPr>
      </p:pic>
      <p:pic>
        <p:nvPicPr>
          <p:cNvPr id="6" name="Graphic 5">
            <a:extLst>
              <a:ext uri="{FF2B5EF4-FFF2-40B4-BE49-F238E27FC236}">
                <a16:creationId xmlns:a16="http://schemas.microsoft.com/office/drawing/2014/main" id="{F75BD756-36A6-17C4-D4AF-34AAE9E71D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93206" y="5758883"/>
            <a:ext cx="365760" cy="365760"/>
          </a:xfrm>
          <a:prstGeom prst="rect">
            <a:avLst/>
          </a:prstGeom>
        </p:spPr>
      </p:pic>
      <p:pic>
        <p:nvPicPr>
          <p:cNvPr id="7" name="Graphic 6">
            <a:extLst>
              <a:ext uri="{FF2B5EF4-FFF2-40B4-BE49-F238E27FC236}">
                <a16:creationId xmlns:a16="http://schemas.microsoft.com/office/drawing/2014/main" id="{DF35753F-101D-F6FD-3A47-047F0375D68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003800" y="5715000"/>
            <a:ext cx="365760" cy="365760"/>
          </a:xfrm>
          <a:prstGeom prst="rect">
            <a:avLst/>
          </a:prstGeom>
        </p:spPr>
      </p:pic>
      <p:graphicFrame>
        <p:nvGraphicFramePr>
          <p:cNvPr id="5" name="Table 14">
            <a:extLst>
              <a:ext uri="{FF2B5EF4-FFF2-40B4-BE49-F238E27FC236}">
                <a16:creationId xmlns:a16="http://schemas.microsoft.com/office/drawing/2014/main" id="{E8469299-3DEF-F270-8CAD-09420F1069E4}"/>
              </a:ext>
            </a:extLst>
          </p:cNvPr>
          <p:cNvGraphicFramePr>
            <a:graphicFrameLocks noGrp="1"/>
          </p:cNvGraphicFramePr>
          <p:nvPr/>
        </p:nvGraphicFramePr>
        <p:xfrm>
          <a:off x="3921262" y="978493"/>
          <a:ext cx="7014216" cy="3966730"/>
        </p:xfrm>
        <a:graphic>
          <a:graphicData uri="http://schemas.openxmlformats.org/drawingml/2006/table">
            <a:tbl>
              <a:tblPr>
                <a:tableStyleId>{5C22544A-7EE6-4342-B048-85BDC9FD1C3A}</a:tableStyleId>
              </a:tblPr>
              <a:tblGrid>
                <a:gridCol w="7014216">
                  <a:extLst>
                    <a:ext uri="{9D8B030D-6E8A-4147-A177-3AD203B41FA5}">
                      <a16:colId xmlns:a16="http://schemas.microsoft.com/office/drawing/2014/main" val="502642899"/>
                    </a:ext>
                  </a:extLst>
                </a:gridCol>
              </a:tblGrid>
              <a:tr h="793346">
                <a:tc>
                  <a:txBody>
                    <a:bodyPr/>
                    <a:lstStyle/>
                    <a:p>
                      <a:endParaRPr lang="en-US"/>
                    </a:p>
                  </a:txBody>
                  <a:tcPr>
                    <a:lnL w="12700" cmpd="sng">
                      <a:noFill/>
                    </a:lnL>
                    <a:lnR w="12700" cmpd="sng">
                      <a:noFill/>
                    </a:lnR>
                    <a:lnT w="12700" cmpd="sng">
                      <a:noFill/>
                    </a:lnT>
                    <a:lnB w="1905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1888423"/>
                  </a:ext>
                </a:extLst>
              </a:tr>
              <a:tr h="793346">
                <a:tc>
                  <a:txBody>
                    <a:bodyPr/>
                    <a:lstStyle/>
                    <a:p>
                      <a:endParaRPr lang="en-US"/>
                    </a:p>
                  </a:txBody>
                  <a:tcPr>
                    <a:lnL w="12700" cmpd="sng">
                      <a:noFill/>
                    </a:lnL>
                    <a:lnR w="12700" cmpd="sng">
                      <a:noFill/>
                    </a:lnR>
                    <a:lnT w="19050" cap="flat" cmpd="sng" algn="ctr">
                      <a:solidFill>
                        <a:schemeClr val="bg2">
                          <a:lumMod val="25000"/>
                        </a:schemeClr>
                      </a:solidFill>
                      <a:prstDash val="solid"/>
                      <a:round/>
                      <a:headEnd type="none" w="med" len="med"/>
                      <a:tailEnd type="none" w="med" len="med"/>
                    </a:lnT>
                    <a:lnB w="1905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9514308"/>
                  </a:ext>
                </a:extLst>
              </a:tr>
              <a:tr h="793346">
                <a:tc>
                  <a:txBody>
                    <a:bodyPr/>
                    <a:lstStyle/>
                    <a:p>
                      <a:endParaRPr lang="en-US"/>
                    </a:p>
                  </a:txBody>
                  <a:tcPr>
                    <a:lnL w="12700" cmpd="sng">
                      <a:noFill/>
                    </a:lnL>
                    <a:lnR w="12700" cmpd="sng">
                      <a:noFill/>
                    </a:lnR>
                    <a:lnT w="19050" cap="flat" cmpd="sng" algn="ctr">
                      <a:solidFill>
                        <a:schemeClr val="bg2">
                          <a:lumMod val="25000"/>
                        </a:schemeClr>
                      </a:solidFill>
                      <a:prstDash val="solid"/>
                      <a:round/>
                      <a:headEnd type="none" w="med" len="med"/>
                      <a:tailEnd type="none" w="med" len="med"/>
                    </a:lnT>
                    <a:lnB w="1905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56676"/>
                  </a:ext>
                </a:extLst>
              </a:tr>
              <a:tr h="793346">
                <a:tc>
                  <a:txBody>
                    <a:bodyPr/>
                    <a:lstStyle/>
                    <a:p>
                      <a:endParaRPr lang="en-US"/>
                    </a:p>
                  </a:txBody>
                  <a:tcPr>
                    <a:lnL w="12700" cmpd="sng">
                      <a:noFill/>
                    </a:lnL>
                    <a:lnR w="12700" cmpd="sng">
                      <a:noFill/>
                    </a:lnR>
                    <a:lnT w="19050" cap="flat" cmpd="sng" algn="ctr">
                      <a:solidFill>
                        <a:schemeClr val="bg2">
                          <a:lumMod val="25000"/>
                        </a:schemeClr>
                      </a:solidFill>
                      <a:prstDash val="solid"/>
                      <a:round/>
                      <a:headEnd type="none" w="med" len="med"/>
                      <a:tailEnd type="none" w="med" len="med"/>
                    </a:lnT>
                    <a:lnB w="19050"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5636250"/>
                  </a:ext>
                </a:extLst>
              </a:tr>
              <a:tr h="793346">
                <a:tc>
                  <a:txBody>
                    <a:bodyPr/>
                    <a:lstStyle/>
                    <a:p>
                      <a:endParaRPr lang="en-US"/>
                    </a:p>
                  </a:txBody>
                  <a:tcPr>
                    <a:lnL w="12700" cmpd="sng">
                      <a:noFill/>
                    </a:lnL>
                    <a:lnR w="12700" cmpd="sng">
                      <a:noFill/>
                    </a:lnR>
                    <a:lnT w="19050" cap="flat" cmpd="sng" algn="ctr">
                      <a:solidFill>
                        <a:schemeClr val="bg2">
                          <a:lumMod val="2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49765060"/>
                  </a:ext>
                </a:extLst>
              </a:tr>
            </a:tbl>
          </a:graphicData>
        </a:graphic>
      </p:graphicFrame>
      <p:sp>
        <p:nvSpPr>
          <p:cNvPr id="15" name="AutoShape 2" descr="Bullseye with solid fill">
            <a:extLst>
              <a:ext uri="{FF2B5EF4-FFF2-40B4-BE49-F238E27FC236}">
                <a16:creationId xmlns:a16="http://schemas.microsoft.com/office/drawing/2014/main" id="{895DF548-4266-5D24-2327-577F0C8B0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9" name="Group 18">
            <a:extLst>
              <a:ext uri="{FF2B5EF4-FFF2-40B4-BE49-F238E27FC236}">
                <a16:creationId xmlns:a16="http://schemas.microsoft.com/office/drawing/2014/main" id="{BEEAD1EA-E6C7-499E-A239-AF5EEEED0D8F}"/>
              </a:ext>
            </a:extLst>
          </p:cNvPr>
          <p:cNvGrpSpPr/>
          <p:nvPr/>
        </p:nvGrpSpPr>
        <p:grpSpPr>
          <a:xfrm>
            <a:off x="4241834" y="1150848"/>
            <a:ext cx="7857239" cy="2919868"/>
            <a:chOff x="3590886" y="1148732"/>
            <a:chExt cx="7857239" cy="2919868"/>
          </a:xfrm>
        </p:grpSpPr>
        <p:grpSp>
          <p:nvGrpSpPr>
            <p:cNvPr id="21" name="Group 20">
              <a:extLst>
                <a:ext uri="{FF2B5EF4-FFF2-40B4-BE49-F238E27FC236}">
                  <a16:creationId xmlns:a16="http://schemas.microsoft.com/office/drawing/2014/main" id="{D193C4DB-B3AB-27B6-715B-10341158B869}"/>
                </a:ext>
              </a:extLst>
            </p:cNvPr>
            <p:cNvGrpSpPr/>
            <p:nvPr/>
          </p:nvGrpSpPr>
          <p:grpSpPr>
            <a:xfrm>
              <a:off x="3590886" y="1148732"/>
              <a:ext cx="7857239" cy="2919868"/>
              <a:chOff x="3796258" y="1134173"/>
              <a:chExt cx="7857239" cy="2919868"/>
            </a:xfrm>
          </p:grpSpPr>
          <p:grpSp>
            <p:nvGrpSpPr>
              <p:cNvPr id="34" name="Group 33">
                <a:extLst>
                  <a:ext uri="{FF2B5EF4-FFF2-40B4-BE49-F238E27FC236}">
                    <a16:creationId xmlns:a16="http://schemas.microsoft.com/office/drawing/2014/main" id="{E4D7CD4E-965F-D3C3-F4A7-26D6DAEE335E}"/>
                  </a:ext>
                </a:extLst>
              </p:cNvPr>
              <p:cNvGrpSpPr/>
              <p:nvPr/>
            </p:nvGrpSpPr>
            <p:grpSpPr>
              <a:xfrm>
                <a:off x="4164387" y="1141696"/>
                <a:ext cx="7489110" cy="2891794"/>
                <a:chOff x="4272724" y="928328"/>
                <a:chExt cx="7489110" cy="2891794"/>
              </a:xfrm>
            </p:grpSpPr>
            <p:sp>
              <p:nvSpPr>
                <p:cNvPr id="42" name="Rounded Rectangle 133">
                  <a:extLst>
                    <a:ext uri="{FF2B5EF4-FFF2-40B4-BE49-F238E27FC236}">
                      <a16:creationId xmlns:a16="http://schemas.microsoft.com/office/drawing/2014/main" id="{AC911DE4-2ABF-819E-9861-7CE63C1FFC2A}"/>
                    </a:ext>
                  </a:extLst>
                </p:cNvPr>
                <p:cNvSpPr/>
                <p:nvPr/>
              </p:nvSpPr>
              <p:spPr>
                <a:xfrm>
                  <a:off x="4272724" y="928328"/>
                  <a:ext cx="6940055" cy="552854"/>
                </a:xfrm>
                <a:prstGeom prst="rect">
                  <a:avLst/>
                </a:prstGeom>
                <a:solidFill>
                  <a:schemeClr val="bg2"/>
                </a:solidFill>
                <a:ln w="28575" cap="flat" cmpd="sng" algn="ctr">
                  <a:noFill/>
                  <a:prstDash val="solid"/>
                </a:ln>
                <a:effectLst/>
              </p:spPr>
              <p:txBody>
                <a:bodyPr rot="0" spcFirstLastPara="0" vertOverflow="overflow" horzOverflow="overflow" vert="horz" wrap="square" lIns="365760" tIns="36576" rIns="36576" bIns="36576" numCol="1" spcCol="0" rtlCol="0" fromWordArt="0" anchor="ctr" anchorCtr="0" forceAA="0" compatLnSpc="1">
                  <a:prstTxWarp prst="textNoShape">
                    <a:avLst/>
                  </a:prstTxWarp>
                  <a:noAutofit/>
                </a:bodyPr>
                <a:lstStyle/>
                <a:p>
                  <a:pPr defTabSz="1219170" eaLnBrk="0" fontAlgn="base" hangingPunct="0">
                    <a:lnSpc>
                      <a:spcPct val="90000"/>
                    </a:lnSpc>
                    <a:spcBef>
                      <a:spcPts val="900"/>
                    </a:spcBef>
                    <a:spcAft>
                      <a:spcPct val="0"/>
                    </a:spcAft>
                    <a:buClr>
                      <a:schemeClr val="tx1"/>
                    </a:buClr>
                    <a:buSzPct val="100000"/>
                  </a:pPr>
                  <a:r>
                    <a:rPr lang="en-US" sz="1600" b="1" dirty="0">
                      <a:cs typeface="Calibri" panose="020F0502020204030204" pitchFamily="34" charset="0"/>
                      <a:sym typeface="Calibri" panose="020F0502020204030204" pitchFamily="34" charset="0"/>
                    </a:rPr>
                    <a:t>Start transformation efforts</a:t>
                  </a:r>
                  <a:r>
                    <a:rPr lang="en-GB" sz="1600" b="1" dirty="0">
                      <a:cs typeface="Calibri" panose="020F0502020204030204" pitchFamily="34" charset="0"/>
                      <a:sym typeface="Calibri" panose="020F0502020204030204" pitchFamily="34" charset="0"/>
                    </a:rPr>
                    <a:t> to implement manufacturing transition considering tariff environment</a:t>
                  </a:r>
                </a:p>
              </p:txBody>
            </p:sp>
            <p:sp>
              <p:nvSpPr>
                <p:cNvPr id="43" name="Rounded Rectangle 133">
                  <a:extLst>
                    <a:ext uri="{FF2B5EF4-FFF2-40B4-BE49-F238E27FC236}">
                      <a16:creationId xmlns:a16="http://schemas.microsoft.com/office/drawing/2014/main" id="{2D1BFF30-103C-9996-1EC6-3B83277501B7}"/>
                    </a:ext>
                  </a:extLst>
                </p:cNvPr>
                <p:cNvSpPr/>
                <p:nvPr/>
              </p:nvSpPr>
              <p:spPr>
                <a:xfrm>
                  <a:off x="4272725" y="1699801"/>
                  <a:ext cx="6940055" cy="552854"/>
                </a:xfrm>
                <a:prstGeom prst="rect">
                  <a:avLst/>
                </a:prstGeom>
                <a:solidFill>
                  <a:schemeClr val="bg2"/>
                </a:solidFill>
                <a:ln w="28575" cap="flat" cmpd="sng" algn="ctr">
                  <a:noFill/>
                  <a:prstDash val="solid"/>
                </a:ln>
                <a:effectLst/>
              </p:spPr>
              <p:txBody>
                <a:bodyPr rot="0" spcFirstLastPara="0" vertOverflow="overflow" horzOverflow="overflow" vert="horz" wrap="square" lIns="365760" tIns="36576" rIns="36576" bIns="36576" numCol="1" spcCol="0" rtlCol="0" fromWordArt="0" anchor="ctr" anchorCtr="0" forceAA="0" compatLnSpc="1">
                  <a:prstTxWarp prst="textNoShape">
                    <a:avLst/>
                  </a:prstTxWarp>
                  <a:noAutofit/>
                </a:bodyPr>
                <a:lstStyle/>
                <a:p>
                  <a:pPr defTabSz="1219170" eaLnBrk="0" fontAlgn="base" hangingPunct="0">
                    <a:lnSpc>
                      <a:spcPct val="90000"/>
                    </a:lnSpc>
                    <a:spcBef>
                      <a:spcPts val="600"/>
                    </a:spcBef>
                    <a:buClr>
                      <a:schemeClr val="tx1"/>
                    </a:buClr>
                    <a:buSzPct val="100000"/>
                  </a:pPr>
                  <a:r>
                    <a:rPr lang="en-GB" sz="1600" b="1" dirty="0">
                      <a:cs typeface="Calibri" panose="020F0502020204030204" pitchFamily="34" charset="0"/>
                      <a:sym typeface="Calibri" panose="020F0502020204030204" pitchFamily="34" charset="0"/>
                    </a:rPr>
                    <a:t>Perform quarterly customer sentiment analysis and compare with competitors </a:t>
                  </a:r>
                </a:p>
              </p:txBody>
            </p:sp>
            <p:sp>
              <p:nvSpPr>
                <p:cNvPr id="55" name="Rounded Rectangle 133">
                  <a:extLst>
                    <a:ext uri="{FF2B5EF4-FFF2-40B4-BE49-F238E27FC236}">
                      <a16:creationId xmlns:a16="http://schemas.microsoft.com/office/drawing/2014/main" id="{820B4C6D-4DAC-A374-8BF6-11E9903AA656}"/>
                    </a:ext>
                  </a:extLst>
                </p:cNvPr>
                <p:cNvSpPr/>
                <p:nvPr/>
              </p:nvSpPr>
              <p:spPr>
                <a:xfrm>
                  <a:off x="4272725" y="2508012"/>
                  <a:ext cx="7014215" cy="552854"/>
                </a:xfrm>
                <a:prstGeom prst="rect">
                  <a:avLst/>
                </a:prstGeom>
                <a:solidFill>
                  <a:schemeClr val="bg2"/>
                </a:solidFill>
                <a:ln w="28575" cap="flat" cmpd="sng" algn="ctr">
                  <a:noFill/>
                  <a:prstDash val="solid"/>
                </a:ln>
                <a:effectLst/>
              </p:spPr>
              <p:txBody>
                <a:bodyPr rot="0" spcFirstLastPara="0" vertOverflow="overflow" horzOverflow="overflow" vert="horz" wrap="square" lIns="365760" tIns="36576" rIns="36576" bIns="36576" numCol="1" spcCol="0" rtlCol="0" fromWordArt="0" anchor="ctr" anchorCtr="0" forceAA="0" compatLnSpc="1">
                  <a:prstTxWarp prst="textNoShape">
                    <a:avLst/>
                  </a:prstTxWarp>
                  <a:noAutofit/>
                </a:bodyPr>
                <a:lstStyle/>
                <a:p>
                  <a:pPr defTabSz="1219170" eaLnBrk="0" fontAlgn="base" hangingPunct="0">
                    <a:lnSpc>
                      <a:spcPct val="90000"/>
                    </a:lnSpc>
                    <a:spcBef>
                      <a:spcPts val="600"/>
                    </a:spcBef>
                    <a:buClr>
                      <a:schemeClr val="tx1"/>
                    </a:buClr>
                    <a:buSzPct val="100000"/>
                  </a:pPr>
                  <a:r>
                    <a:rPr lang="en-US" sz="1600" b="1" dirty="0">
                      <a:cs typeface="Calibri" panose="020F0502020204030204" pitchFamily="34" charset="0"/>
                      <a:sym typeface="Calibri" panose="020F0502020204030204" pitchFamily="34" charset="0"/>
                    </a:rPr>
                    <a:t>Improve marketing efforts through right placement and details</a:t>
                  </a:r>
                  <a:endParaRPr lang="en-GB" sz="1600" b="1" dirty="0">
                    <a:cs typeface="Calibri" panose="020F0502020204030204" pitchFamily="34" charset="0"/>
                    <a:sym typeface="Calibri" panose="020F0502020204030204" pitchFamily="34" charset="0"/>
                  </a:endParaRPr>
                </a:p>
              </p:txBody>
            </p:sp>
            <p:sp>
              <p:nvSpPr>
                <p:cNvPr id="56" name="Rounded Rectangle 133">
                  <a:extLst>
                    <a:ext uri="{FF2B5EF4-FFF2-40B4-BE49-F238E27FC236}">
                      <a16:creationId xmlns:a16="http://schemas.microsoft.com/office/drawing/2014/main" id="{B0120E38-601C-24FE-DE94-5D1E99ED1448}"/>
                    </a:ext>
                  </a:extLst>
                </p:cNvPr>
                <p:cNvSpPr/>
                <p:nvPr/>
              </p:nvSpPr>
              <p:spPr>
                <a:xfrm>
                  <a:off x="4272725" y="3267268"/>
                  <a:ext cx="7489109" cy="552854"/>
                </a:xfrm>
                <a:prstGeom prst="rect">
                  <a:avLst/>
                </a:prstGeom>
                <a:solidFill>
                  <a:schemeClr val="bg2"/>
                </a:solidFill>
                <a:ln w="28575" cap="flat" cmpd="sng" algn="ctr">
                  <a:noFill/>
                  <a:prstDash val="solid"/>
                </a:ln>
                <a:effectLst/>
              </p:spPr>
              <p:txBody>
                <a:bodyPr rot="0" spcFirstLastPara="0" vertOverflow="overflow" horzOverflow="overflow" vert="horz" wrap="square" lIns="365760" tIns="36576" rIns="36576" bIns="36576" numCol="1" spcCol="0" rtlCol="0" fromWordArt="0" anchor="ctr" anchorCtr="0" forceAA="0" compatLnSpc="1">
                  <a:prstTxWarp prst="textNoShape">
                    <a:avLst/>
                  </a:prstTxWarp>
                  <a:noAutofit/>
                </a:bodyPr>
                <a:lstStyle/>
                <a:p>
                  <a:pPr defTabSz="1219170" eaLnBrk="0" fontAlgn="base" hangingPunct="0">
                    <a:lnSpc>
                      <a:spcPct val="90000"/>
                    </a:lnSpc>
                    <a:spcBef>
                      <a:spcPts val="600"/>
                    </a:spcBef>
                    <a:buClr>
                      <a:schemeClr val="tx1"/>
                    </a:buClr>
                    <a:buSzPct val="100000"/>
                  </a:pPr>
                  <a:r>
                    <a:rPr lang="en-US" sz="1600" b="1" dirty="0">
                      <a:cs typeface="Calibri" panose="020F0502020204030204" pitchFamily="34" charset="0"/>
                      <a:sym typeface="Calibri" panose="020F0502020204030204" pitchFamily="34" charset="0"/>
                    </a:rPr>
                    <a:t>Enhance strategic partnerships with e-commerce and B&amp;M retailers</a:t>
                  </a:r>
                  <a:endParaRPr lang="en-GB" sz="1600" b="1" dirty="0">
                    <a:cs typeface="Calibri" panose="020F0502020204030204" pitchFamily="34" charset="0"/>
                    <a:sym typeface="Calibri" panose="020F0502020204030204" pitchFamily="34" charset="0"/>
                  </a:endParaRPr>
                </a:p>
              </p:txBody>
            </p:sp>
          </p:grpSp>
          <p:grpSp>
            <p:nvGrpSpPr>
              <p:cNvPr id="35" name="Group 34">
                <a:extLst>
                  <a:ext uri="{FF2B5EF4-FFF2-40B4-BE49-F238E27FC236}">
                    <a16:creationId xmlns:a16="http://schemas.microsoft.com/office/drawing/2014/main" id="{D4BD64E4-7B09-7BB7-BDAC-895BEE474B3B}"/>
                  </a:ext>
                </a:extLst>
              </p:cNvPr>
              <p:cNvGrpSpPr/>
              <p:nvPr/>
            </p:nvGrpSpPr>
            <p:grpSpPr>
              <a:xfrm>
                <a:off x="3796258" y="1134173"/>
                <a:ext cx="554632" cy="2919868"/>
                <a:chOff x="3783643" y="1128924"/>
                <a:chExt cx="554632" cy="2919868"/>
              </a:xfrm>
            </p:grpSpPr>
            <p:sp>
              <p:nvSpPr>
                <p:cNvPr id="38" name="Oval 37">
                  <a:extLst>
                    <a:ext uri="{FF2B5EF4-FFF2-40B4-BE49-F238E27FC236}">
                      <a16:creationId xmlns:a16="http://schemas.microsoft.com/office/drawing/2014/main" id="{4930709C-CC74-CA74-F923-9BAC2E33235C}"/>
                    </a:ext>
                  </a:extLst>
                </p:cNvPr>
                <p:cNvSpPr/>
                <p:nvPr/>
              </p:nvSpPr>
              <p:spPr>
                <a:xfrm>
                  <a:off x="3783643" y="1128924"/>
                  <a:ext cx="533555" cy="556871"/>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200" b="1" err="1">
                    <a:solidFill>
                      <a:schemeClr val="tx1"/>
                    </a:solidFill>
                  </a:endParaRPr>
                </a:p>
              </p:txBody>
            </p:sp>
            <p:sp>
              <p:nvSpPr>
                <p:cNvPr id="39" name="Oval 38">
                  <a:extLst>
                    <a:ext uri="{FF2B5EF4-FFF2-40B4-BE49-F238E27FC236}">
                      <a16:creationId xmlns:a16="http://schemas.microsoft.com/office/drawing/2014/main" id="{3B9B3A78-AB52-2B4A-12F7-284C24E1A378}"/>
                    </a:ext>
                  </a:extLst>
                </p:cNvPr>
                <p:cNvSpPr/>
                <p:nvPr/>
              </p:nvSpPr>
              <p:spPr>
                <a:xfrm>
                  <a:off x="3804720" y="1914746"/>
                  <a:ext cx="533555" cy="556871"/>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200" b="1" err="1">
                    <a:solidFill>
                      <a:schemeClr val="tx1"/>
                    </a:solidFill>
                  </a:endParaRPr>
                </a:p>
              </p:txBody>
            </p:sp>
            <p:sp>
              <p:nvSpPr>
                <p:cNvPr id="40" name="Oval 39">
                  <a:extLst>
                    <a:ext uri="{FF2B5EF4-FFF2-40B4-BE49-F238E27FC236}">
                      <a16:creationId xmlns:a16="http://schemas.microsoft.com/office/drawing/2014/main" id="{103B3977-3721-5936-39CF-1FCBDCD4D9BB}"/>
                    </a:ext>
                  </a:extLst>
                </p:cNvPr>
                <p:cNvSpPr/>
                <p:nvPr/>
              </p:nvSpPr>
              <p:spPr>
                <a:xfrm>
                  <a:off x="3804720" y="2714123"/>
                  <a:ext cx="533555" cy="556871"/>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200" b="1" err="1">
                    <a:solidFill>
                      <a:schemeClr val="tx1"/>
                    </a:solidFill>
                  </a:endParaRPr>
                </a:p>
              </p:txBody>
            </p:sp>
            <p:sp>
              <p:nvSpPr>
                <p:cNvPr id="41" name="Oval 40">
                  <a:extLst>
                    <a:ext uri="{FF2B5EF4-FFF2-40B4-BE49-F238E27FC236}">
                      <a16:creationId xmlns:a16="http://schemas.microsoft.com/office/drawing/2014/main" id="{232847C5-DB50-92AE-A08B-5A19BEA1D661}"/>
                    </a:ext>
                  </a:extLst>
                </p:cNvPr>
                <p:cNvSpPr/>
                <p:nvPr/>
              </p:nvSpPr>
              <p:spPr>
                <a:xfrm>
                  <a:off x="3804720" y="3491921"/>
                  <a:ext cx="533555" cy="556871"/>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200" b="1">
                    <a:solidFill>
                      <a:schemeClr val="tx1"/>
                    </a:solidFill>
                  </a:endParaRPr>
                </a:p>
              </p:txBody>
            </p:sp>
          </p:grpSp>
        </p:grpSp>
        <p:pic>
          <p:nvPicPr>
            <p:cNvPr id="23" name="Graphic 22">
              <a:extLst>
                <a:ext uri="{FF2B5EF4-FFF2-40B4-BE49-F238E27FC236}">
                  <a16:creationId xmlns:a16="http://schemas.microsoft.com/office/drawing/2014/main" id="{2B023677-7967-17CC-7DF4-44D1396AD98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18012" y="2826379"/>
              <a:ext cx="357589" cy="357589"/>
            </a:xfrm>
            <a:prstGeom prst="rect">
              <a:avLst/>
            </a:prstGeom>
          </p:spPr>
        </p:pic>
      </p:grpSp>
      <p:sp>
        <p:nvSpPr>
          <p:cNvPr id="58" name="Rounded Rectangle 133">
            <a:extLst>
              <a:ext uri="{FF2B5EF4-FFF2-40B4-BE49-F238E27FC236}">
                <a16:creationId xmlns:a16="http://schemas.microsoft.com/office/drawing/2014/main" id="{6560AD74-01E9-B558-8B73-366B4656F86F}"/>
              </a:ext>
            </a:extLst>
          </p:cNvPr>
          <p:cNvSpPr/>
          <p:nvPr/>
        </p:nvSpPr>
        <p:spPr>
          <a:xfrm>
            <a:off x="4614260" y="4264131"/>
            <a:ext cx="6773016" cy="552854"/>
          </a:xfrm>
          <a:prstGeom prst="rect">
            <a:avLst/>
          </a:prstGeom>
          <a:solidFill>
            <a:schemeClr val="bg2"/>
          </a:solidFill>
          <a:ln w="28575" cap="flat" cmpd="sng" algn="ctr">
            <a:noFill/>
            <a:prstDash val="solid"/>
          </a:ln>
          <a:effectLst/>
        </p:spPr>
        <p:txBody>
          <a:bodyPr rot="0" spcFirstLastPara="0" vertOverflow="overflow" horzOverflow="overflow" vert="horz" wrap="square" lIns="365760" tIns="36576" rIns="36576" bIns="36576" numCol="1" spcCol="0" rtlCol="0" fromWordArt="0" anchor="ctr" anchorCtr="0" forceAA="0" compatLnSpc="1">
            <a:prstTxWarp prst="textNoShape">
              <a:avLst/>
            </a:prstTxWarp>
            <a:noAutofit/>
          </a:bodyPr>
          <a:lstStyle/>
          <a:p>
            <a:pPr defTabSz="1219170" eaLnBrk="0" fontAlgn="base" hangingPunct="0">
              <a:lnSpc>
                <a:spcPct val="90000"/>
              </a:lnSpc>
              <a:spcBef>
                <a:spcPts val="900"/>
              </a:spcBef>
              <a:spcAft>
                <a:spcPct val="0"/>
              </a:spcAft>
              <a:buClr>
                <a:schemeClr val="tx1"/>
              </a:buClr>
              <a:buSzPct val="100000"/>
            </a:pPr>
            <a:r>
              <a:rPr lang="en-US" sz="1600" b="1" dirty="0">
                <a:cs typeface="Calibri" panose="020F0502020204030204" pitchFamily="34" charset="0"/>
                <a:sym typeface="Calibri" panose="020F0502020204030204" pitchFamily="34" charset="0"/>
              </a:rPr>
              <a:t>Create change management plan for the teams with new strategy</a:t>
            </a:r>
            <a:endParaRPr lang="en-GB" sz="1600" b="1" dirty="0">
              <a:cs typeface="Calibri" panose="020F0502020204030204" pitchFamily="34" charset="0"/>
              <a:sym typeface="Calibri" panose="020F0502020204030204" pitchFamily="34" charset="0"/>
            </a:endParaRPr>
          </a:p>
        </p:txBody>
      </p:sp>
      <p:sp>
        <p:nvSpPr>
          <p:cNvPr id="59" name="Oval 58">
            <a:extLst>
              <a:ext uri="{FF2B5EF4-FFF2-40B4-BE49-F238E27FC236}">
                <a16:creationId xmlns:a16="http://schemas.microsoft.com/office/drawing/2014/main" id="{6C2DEABF-8C88-2608-3288-33783A7A3E61}"/>
              </a:ext>
            </a:extLst>
          </p:cNvPr>
          <p:cNvSpPr/>
          <p:nvPr/>
        </p:nvSpPr>
        <p:spPr>
          <a:xfrm>
            <a:off x="4293854" y="4264131"/>
            <a:ext cx="533555" cy="556871"/>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pic>
        <p:nvPicPr>
          <p:cNvPr id="60" name="Graphic 59">
            <a:extLst>
              <a:ext uri="{FF2B5EF4-FFF2-40B4-BE49-F238E27FC236}">
                <a16:creationId xmlns:a16="http://schemas.microsoft.com/office/drawing/2014/main" id="{6D1E586E-6B27-B22B-AAB8-1E252D4C99F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346808" y="1222112"/>
            <a:ext cx="365760" cy="365760"/>
          </a:xfrm>
          <a:prstGeom prst="rect">
            <a:avLst/>
          </a:prstGeom>
        </p:spPr>
      </p:pic>
      <p:pic>
        <p:nvPicPr>
          <p:cNvPr id="61" name="Graphic 60">
            <a:extLst>
              <a:ext uri="{FF2B5EF4-FFF2-40B4-BE49-F238E27FC236}">
                <a16:creationId xmlns:a16="http://schemas.microsoft.com/office/drawing/2014/main" id="{55D8B69F-E6F1-51CE-4BDE-14E2855C590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68960" y="2029265"/>
            <a:ext cx="365760" cy="365760"/>
          </a:xfrm>
          <a:prstGeom prst="rect">
            <a:avLst/>
          </a:prstGeom>
        </p:spPr>
      </p:pic>
      <p:pic>
        <p:nvPicPr>
          <p:cNvPr id="454" name="Graphic 453">
            <a:extLst>
              <a:ext uri="{FF2B5EF4-FFF2-40B4-BE49-F238E27FC236}">
                <a16:creationId xmlns:a16="http://schemas.microsoft.com/office/drawing/2014/main" id="{7BA81FC0-9F65-3136-74B6-D62CE316BC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360789" y="3631931"/>
            <a:ext cx="365760" cy="365760"/>
          </a:xfrm>
          <a:prstGeom prst="rect">
            <a:avLst/>
          </a:prstGeom>
        </p:spPr>
      </p:pic>
      <p:pic>
        <p:nvPicPr>
          <p:cNvPr id="455" name="Graphic 454">
            <a:extLst>
              <a:ext uri="{FF2B5EF4-FFF2-40B4-BE49-F238E27FC236}">
                <a16:creationId xmlns:a16="http://schemas.microsoft.com/office/drawing/2014/main" id="{6F0899F1-785D-4D80-2BFA-A946BAECFFB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4377752" y="4357841"/>
            <a:ext cx="365760" cy="365760"/>
          </a:xfrm>
          <a:prstGeom prst="rect">
            <a:avLst/>
          </a:prstGeom>
        </p:spPr>
      </p:pic>
    </p:spTree>
    <p:extLst>
      <p:ext uri="{BB962C8B-B14F-4D97-AF65-F5344CB8AC3E}">
        <p14:creationId xmlns:p14="http://schemas.microsoft.com/office/powerpoint/2010/main" val="3494192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B9668-AD90-3C9A-5D51-8D71BC81ED1E}"/>
            </a:ext>
          </a:extLst>
        </p:cNvPr>
        <p:cNvGrpSpPr/>
        <p:nvPr/>
      </p:nvGrpSpPr>
      <p:grpSpPr>
        <a:xfrm>
          <a:off x="0" y="0"/>
          <a:ext cx="0" cy="0"/>
          <a:chOff x="0" y="0"/>
          <a:chExt cx="0" cy="0"/>
        </a:xfrm>
      </p:grpSpPr>
      <p:sp>
        <p:nvSpPr>
          <p:cNvPr id="2" name="標題 1">
            <a:extLst>
              <a:ext uri="{FF2B5EF4-FFF2-40B4-BE49-F238E27FC236}">
                <a16:creationId xmlns:a16="http://schemas.microsoft.com/office/drawing/2014/main" id="{1619D16B-07C1-F57E-EE24-B4020C0C9D68}"/>
              </a:ext>
            </a:extLst>
          </p:cNvPr>
          <p:cNvSpPr>
            <a:spLocks noGrp="1"/>
          </p:cNvSpPr>
          <p:nvPr>
            <p:ph type="title"/>
          </p:nvPr>
        </p:nvSpPr>
        <p:spPr/>
        <p:txBody>
          <a:bodyPr wrap="square" anchor="t">
            <a:normAutofit/>
          </a:bodyPr>
          <a:lstStyle/>
          <a:p>
            <a:r>
              <a:rPr lang="zh-TW" altLang="en-US" sz="2800"/>
              <a:t>Appendix</a:t>
            </a:r>
          </a:p>
        </p:txBody>
      </p:sp>
      <p:pic>
        <p:nvPicPr>
          <p:cNvPr id="6" name="Picture Placeholder 7" descr="A close-up of hands shaking&#10;&#10;Description automatically generated">
            <a:extLst>
              <a:ext uri="{FF2B5EF4-FFF2-40B4-BE49-F238E27FC236}">
                <a16:creationId xmlns:a16="http://schemas.microsoft.com/office/drawing/2014/main" id="{D144C91F-4A47-75E4-5F08-9A395C69BA4F}"/>
              </a:ext>
            </a:extLst>
          </p:cNvPr>
          <p:cNvPicPr>
            <a:picLocks noGrp="1" noChangeAspect="1"/>
          </p:cNvPicPr>
          <p:nvPr>
            <p:ph type="pic" sz="quarter" idx="42"/>
          </p:nvPr>
        </p:nvPicPr>
        <p:blipFill>
          <a:blip r:embed="rId3" cstate="email">
            <a:extLst>
              <a:ext uri="{28A0092B-C50C-407E-A947-70E740481C1C}">
                <a14:useLocalDpi xmlns:a14="http://schemas.microsoft.com/office/drawing/2010/main"/>
              </a:ext>
            </a:extLst>
          </a:blip>
          <a:srcRect/>
          <a:stretch/>
        </p:blipFill>
        <p:spPr>
          <a:noFill/>
        </p:spPr>
      </p:pic>
      <p:sp>
        <p:nvSpPr>
          <p:cNvPr id="3" name="TextBox 2">
            <a:extLst>
              <a:ext uri="{FF2B5EF4-FFF2-40B4-BE49-F238E27FC236}">
                <a16:creationId xmlns:a16="http://schemas.microsoft.com/office/drawing/2014/main" id="{9815381A-FCBD-F602-31F4-4493E6A65390}"/>
              </a:ext>
            </a:extLst>
          </p:cNvPr>
          <p:cNvSpPr txBox="1"/>
          <p:nvPr/>
        </p:nvSpPr>
        <p:spPr>
          <a:xfrm>
            <a:off x="375920" y="1905000"/>
            <a:ext cx="4283224" cy="4293483"/>
          </a:xfrm>
          <a:prstGeom prst="rect">
            <a:avLst/>
          </a:prstGeom>
          <a:noFill/>
        </p:spPr>
        <p:txBody>
          <a:bodyPr wrap="none" lIns="0" tIns="0" rIns="0" bIns="0" rtlCol="0">
            <a:spAutoFit/>
          </a:bodyPr>
          <a:lstStyle/>
          <a:p>
            <a:pPr algn="l">
              <a:lnSpc>
                <a:spcPct val="90000"/>
              </a:lnSpc>
            </a:pPr>
            <a:r>
              <a:rPr lang="en-US" sz="2000" b="1" dirty="0">
                <a:latin typeface="Arial" panose="020B0604020202020204" pitchFamily="34" charset="0"/>
                <a:cs typeface="Arial" panose="020B0604020202020204" pitchFamily="34" charset="0"/>
              </a:rPr>
              <a:t>Contents</a:t>
            </a:r>
          </a:p>
          <a:p>
            <a:pPr algn="l">
              <a:lnSpc>
                <a:spcPct val="90000"/>
              </a:lnSpc>
            </a:pPr>
            <a:endParaRPr lang="en-US" sz="2000"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Key market numeric data</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Summarized competitive analysis data</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Scenario based models</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Projected outsourced growth</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E-commerce strategy</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Customer data analysis</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Price index of various brands</a:t>
            </a:r>
          </a:p>
          <a:p>
            <a:pPr algn="l">
              <a:lnSpc>
                <a:spcPct val="90000"/>
              </a:lnSpc>
            </a:pPr>
            <a:endParaRPr lang="en-US" dirty="0">
              <a:latin typeface="Arial" panose="020B0604020202020204" pitchFamily="34" charset="0"/>
              <a:cs typeface="Arial" panose="020B0604020202020204" pitchFamily="34" charset="0"/>
            </a:endParaRPr>
          </a:p>
          <a:p>
            <a:pPr marL="342900" indent="-342900" algn="l">
              <a:lnSpc>
                <a:spcPct val="90000"/>
              </a:lnSpc>
              <a:buFontTx/>
              <a:buChar char="-"/>
            </a:pPr>
            <a:r>
              <a:rPr lang="en-US" dirty="0">
                <a:latin typeface="Arial" panose="020B0604020202020204" pitchFamily="34" charset="0"/>
                <a:cs typeface="Arial" panose="020B0604020202020204" pitchFamily="34" charset="0"/>
              </a:rPr>
              <a:t>Key risks</a:t>
            </a:r>
          </a:p>
        </p:txBody>
      </p:sp>
    </p:spTree>
    <p:extLst>
      <p:ext uri="{BB962C8B-B14F-4D97-AF65-F5344CB8AC3E}">
        <p14:creationId xmlns:p14="http://schemas.microsoft.com/office/powerpoint/2010/main" val="4001585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7DF115D-C90A-C55F-A151-C773F1418E52}"/>
              </a:ext>
            </a:extLst>
          </p:cNvPr>
          <p:cNvSpPr>
            <a:spLocks noGrp="1"/>
          </p:cNvSpPr>
          <p:nvPr>
            <p:ph type="title"/>
          </p:nvPr>
        </p:nvSpPr>
        <p:spPr>
          <a:xfrm>
            <a:off x="381000" y="381000"/>
            <a:ext cx="2378675" cy="3214828"/>
          </a:xfrm>
        </p:spPr>
        <p:txBody>
          <a:bodyPr/>
          <a:lstStyle/>
          <a:p>
            <a:r>
              <a:rPr lang="en-US">
                <a:ea typeface="+mj-lt"/>
                <a:cs typeface="+mj-lt"/>
              </a:rPr>
              <a:t>Appendix 1</a:t>
            </a:r>
            <a:br>
              <a:rPr lang="en-US">
                <a:ea typeface="+mj-lt"/>
                <a:cs typeface="+mj-lt"/>
              </a:rPr>
            </a:br>
            <a:r>
              <a:rPr lang="en-US">
                <a:solidFill>
                  <a:srgbClr val="AF7DEB"/>
                </a:solidFill>
                <a:ea typeface="+mj-lt"/>
                <a:cs typeface="+mj-lt"/>
              </a:rPr>
              <a:t>Key Numeric Data (2023–24)</a:t>
            </a:r>
          </a:p>
        </p:txBody>
      </p:sp>
      <p:graphicFrame>
        <p:nvGraphicFramePr>
          <p:cNvPr id="7" name="Chart 6">
            <a:extLst>
              <a:ext uri="{FF2B5EF4-FFF2-40B4-BE49-F238E27FC236}">
                <a16:creationId xmlns:a16="http://schemas.microsoft.com/office/drawing/2014/main" id="{6A0D59FB-85A9-3769-8B17-CA777BF9F550}"/>
              </a:ext>
            </a:extLst>
          </p:cNvPr>
          <p:cNvGraphicFramePr/>
          <p:nvPr/>
        </p:nvGraphicFramePr>
        <p:xfrm>
          <a:off x="3045949" y="3214347"/>
          <a:ext cx="5241533" cy="272415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9682DF51-39D4-B78C-643E-42B69D8EE203}"/>
              </a:ext>
            </a:extLst>
          </p:cNvPr>
          <p:cNvSpPr txBox="1"/>
          <p:nvPr/>
        </p:nvSpPr>
        <p:spPr>
          <a:xfrm>
            <a:off x="8858620" y="2835520"/>
            <a:ext cx="3016528" cy="5816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just">
              <a:lnSpc>
                <a:spcPct val="90000"/>
              </a:lnSpc>
            </a:pPr>
            <a:r>
              <a:rPr lang="en-US" sz="1400" b="1" dirty="0">
                <a:ea typeface="+mn-lt"/>
                <a:cs typeface="+mn-lt"/>
              </a:rPr>
              <a:t>Target Goods </a:t>
            </a:r>
            <a:r>
              <a:rPr lang="en-US" sz="1400" dirty="0">
                <a:ea typeface="+mn-lt"/>
                <a:cs typeface="+mn-lt"/>
              </a:rPr>
              <a:t>profitability turned </a:t>
            </a:r>
            <a:endParaRPr lang="en-US" dirty="0"/>
          </a:p>
          <a:p>
            <a:pPr algn="just">
              <a:lnSpc>
                <a:spcPct val="90000"/>
              </a:lnSpc>
            </a:pPr>
            <a:r>
              <a:rPr lang="en-US" sz="1400" dirty="0">
                <a:ea typeface="+mn-lt"/>
                <a:cs typeface="+mn-lt"/>
              </a:rPr>
              <a:t>around—from a negative </a:t>
            </a:r>
            <a:r>
              <a:rPr lang="en-US" sz="1400" b="1" dirty="0">
                <a:ea typeface="+mn-lt"/>
                <a:cs typeface="+mn-lt"/>
              </a:rPr>
              <a:t>-1%</a:t>
            </a:r>
          </a:p>
          <a:p>
            <a:pPr algn="just">
              <a:lnSpc>
                <a:spcPct val="90000"/>
              </a:lnSpc>
            </a:pPr>
            <a:r>
              <a:rPr lang="en-US" sz="1400" dirty="0">
                <a:ea typeface="+mn-lt"/>
                <a:cs typeface="+mn-lt"/>
              </a:rPr>
              <a:t> in 2023 to a positive</a:t>
            </a:r>
            <a:r>
              <a:rPr lang="en-US" sz="1400" b="1" dirty="0">
                <a:ea typeface="+mn-lt"/>
                <a:cs typeface="+mn-lt"/>
              </a:rPr>
              <a:t> 3.74%</a:t>
            </a:r>
            <a:r>
              <a:rPr lang="en-US" sz="1400" dirty="0">
                <a:ea typeface="+mn-lt"/>
                <a:cs typeface="+mn-lt"/>
              </a:rPr>
              <a:t> in 2024.</a:t>
            </a:r>
            <a:endParaRPr lang="en-US" dirty="0">
              <a:cs typeface="Arial" panose="020B0604020202020204"/>
            </a:endParaRPr>
          </a:p>
        </p:txBody>
      </p:sp>
      <p:grpSp>
        <p:nvGrpSpPr>
          <p:cNvPr id="9" name="Group 8">
            <a:extLst>
              <a:ext uri="{FF2B5EF4-FFF2-40B4-BE49-F238E27FC236}">
                <a16:creationId xmlns:a16="http://schemas.microsoft.com/office/drawing/2014/main" id="{462C8000-68AD-DAE7-25C9-46BEA6D0B3F6}"/>
              </a:ext>
            </a:extLst>
          </p:cNvPr>
          <p:cNvGrpSpPr/>
          <p:nvPr/>
        </p:nvGrpSpPr>
        <p:grpSpPr>
          <a:xfrm>
            <a:off x="8370300" y="5159838"/>
            <a:ext cx="3439883" cy="830997"/>
            <a:chOff x="8296217" y="5106921"/>
            <a:chExt cx="3439883" cy="830997"/>
          </a:xfrm>
        </p:grpSpPr>
        <p:pic>
          <p:nvPicPr>
            <p:cNvPr id="14" name="圖片 11" descr="一張含有 樣式, 藝術, 對稱, 鮮豔 的圖片&#10;&#10;AI 產生的內容可能不正確。">
              <a:extLst>
                <a:ext uri="{FF2B5EF4-FFF2-40B4-BE49-F238E27FC236}">
                  <a16:creationId xmlns:a16="http://schemas.microsoft.com/office/drawing/2014/main" id="{18EE13EA-67C9-E4C3-043C-18B2CF488F86}"/>
                </a:ext>
              </a:extLst>
            </p:cNvPr>
            <p:cNvPicPr>
              <a:picLocks noChangeAspect="1"/>
            </p:cNvPicPr>
            <p:nvPr/>
          </p:nvPicPr>
          <p:blipFill>
            <a:blip r:embed="rId3"/>
            <a:stretch>
              <a:fillRect/>
            </a:stretch>
          </p:blipFill>
          <p:spPr>
            <a:xfrm>
              <a:off x="8296217" y="5291648"/>
              <a:ext cx="495177" cy="410133"/>
            </a:xfrm>
            <a:prstGeom prst="rect">
              <a:avLst/>
            </a:prstGeom>
          </p:spPr>
        </p:pic>
        <p:sp>
          <p:nvSpPr>
            <p:cNvPr id="15" name="TextBox 14">
              <a:extLst>
                <a:ext uri="{FF2B5EF4-FFF2-40B4-BE49-F238E27FC236}">
                  <a16:creationId xmlns:a16="http://schemas.microsoft.com/office/drawing/2014/main" id="{E2F36012-30E5-2413-F5DA-EB9697A14F90}"/>
                </a:ext>
              </a:extLst>
            </p:cNvPr>
            <p:cNvSpPr txBox="1"/>
            <p:nvPr/>
          </p:nvSpPr>
          <p:spPr>
            <a:xfrm>
              <a:off x="8866317" y="5106921"/>
              <a:ext cx="2869783"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en-US" sz="1400" b="1" dirty="0">
                  <a:ea typeface="+mn-lt"/>
                  <a:cs typeface="+mn-lt"/>
                </a:rPr>
                <a:t>Durable Goods'</a:t>
              </a:r>
              <a:r>
                <a:rPr lang="en-US" sz="1400" dirty="0">
                  <a:ea typeface="+mn-lt"/>
                  <a:cs typeface="+mn-lt"/>
                </a:rPr>
                <a:t> profit contribution increased from </a:t>
              </a:r>
              <a:r>
                <a:rPr lang="en-US" sz="1400" b="1" dirty="0">
                  <a:ea typeface="+mn-lt"/>
                  <a:cs typeface="+mn-lt"/>
                </a:rPr>
                <a:t>23%</a:t>
              </a:r>
              <a:r>
                <a:rPr lang="en-US" sz="1400" dirty="0">
                  <a:ea typeface="+mn-lt"/>
                  <a:cs typeface="+mn-lt"/>
                </a:rPr>
                <a:t> to</a:t>
              </a:r>
              <a:r>
                <a:rPr lang="en-US" sz="1400" b="1" dirty="0">
                  <a:ea typeface="+mn-lt"/>
                  <a:cs typeface="+mn-lt"/>
                </a:rPr>
                <a:t> 26%</a:t>
              </a:r>
              <a:r>
                <a:rPr lang="en-US" sz="1400" dirty="0">
                  <a:ea typeface="+mn-lt"/>
                  <a:cs typeface="+mn-lt"/>
                </a:rPr>
                <a:t>,</a:t>
              </a:r>
              <a:r>
                <a:rPr lang="en-US" dirty="0">
                  <a:ea typeface="+mn-lt"/>
                  <a:cs typeface="+mn-lt"/>
                </a:rPr>
                <a:t> </a:t>
              </a:r>
              <a:r>
                <a:rPr lang="en-US" sz="1400" dirty="0">
                  <a:ea typeface="+mn-lt"/>
                  <a:cs typeface="+mn-lt"/>
                </a:rPr>
                <a:t>while </a:t>
              </a:r>
              <a:r>
                <a:rPr lang="en-US" sz="1400" b="1" dirty="0">
                  <a:ea typeface="+mn-lt"/>
                  <a:cs typeface="+mn-lt"/>
                </a:rPr>
                <a:t>Fast-moving Goods </a:t>
              </a:r>
              <a:r>
                <a:rPr lang="en-US" sz="1400" dirty="0">
                  <a:ea typeface="+mn-lt"/>
                  <a:cs typeface="+mn-lt"/>
                </a:rPr>
                <a:t>dropped from </a:t>
              </a:r>
              <a:r>
                <a:rPr lang="en-US" sz="1400" b="1" dirty="0">
                  <a:ea typeface="+mn-lt"/>
                  <a:cs typeface="+mn-lt"/>
                </a:rPr>
                <a:t>78%</a:t>
              </a:r>
              <a:r>
                <a:rPr lang="en-US" sz="1400" dirty="0">
                  <a:ea typeface="+mn-lt"/>
                  <a:cs typeface="+mn-lt"/>
                </a:rPr>
                <a:t> to </a:t>
              </a:r>
              <a:r>
                <a:rPr lang="en-US" sz="1400" b="1" dirty="0">
                  <a:ea typeface="+mn-lt"/>
                  <a:cs typeface="+mn-lt"/>
                </a:rPr>
                <a:t>70%</a:t>
              </a:r>
              <a:r>
                <a:rPr lang="en-US" sz="1400" dirty="0">
                  <a:ea typeface="+mn-lt"/>
                  <a:cs typeface="+mn-lt"/>
                </a:rPr>
                <a:t>.</a:t>
              </a:r>
              <a:endParaRPr lang="en-US" dirty="0">
                <a:ea typeface="+mn-lt"/>
                <a:cs typeface="+mn-lt"/>
              </a:endParaRPr>
            </a:p>
          </p:txBody>
        </p:sp>
      </p:grpSp>
      <p:sp>
        <p:nvSpPr>
          <p:cNvPr id="22" name="TextBox 21">
            <a:extLst>
              <a:ext uri="{FF2B5EF4-FFF2-40B4-BE49-F238E27FC236}">
                <a16:creationId xmlns:a16="http://schemas.microsoft.com/office/drawing/2014/main" id="{C5477101-5345-6DB4-D17C-C414DE71CECA}"/>
              </a:ext>
            </a:extLst>
          </p:cNvPr>
          <p:cNvSpPr txBox="1"/>
          <p:nvPr/>
        </p:nvSpPr>
        <p:spPr>
          <a:xfrm>
            <a:off x="8874013" y="1702472"/>
            <a:ext cx="2732660" cy="5816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just">
              <a:lnSpc>
                <a:spcPct val="90000"/>
              </a:lnSpc>
            </a:pPr>
            <a:r>
              <a:rPr lang="en-US" sz="1400" b="1" dirty="0">
                <a:ea typeface="+mn-lt"/>
                <a:cs typeface="+mn-lt"/>
              </a:rPr>
              <a:t>Target Goods</a:t>
            </a:r>
            <a:r>
              <a:rPr lang="en-US" sz="1400" dirty="0">
                <a:ea typeface="+mn-lt"/>
                <a:cs typeface="+mn-lt"/>
              </a:rPr>
              <a:t> sales remained</a:t>
            </a:r>
            <a:r>
              <a:rPr lang="en-US" sz="1400" b="1" dirty="0">
                <a:ea typeface="+mn-lt"/>
                <a:cs typeface="+mn-lt"/>
              </a:rPr>
              <a:t> steady</a:t>
            </a:r>
            <a:r>
              <a:rPr lang="en-US" sz="1400" dirty="0">
                <a:ea typeface="+mn-lt"/>
                <a:cs typeface="+mn-lt"/>
              </a:rPr>
              <a:t> at</a:t>
            </a:r>
            <a:r>
              <a:rPr lang="en-US" sz="1400" b="1" dirty="0">
                <a:ea typeface="+mn-lt"/>
                <a:cs typeface="+mn-lt"/>
              </a:rPr>
              <a:t> 8%</a:t>
            </a:r>
            <a:r>
              <a:rPr lang="en-US" sz="1400" dirty="0">
                <a:ea typeface="+mn-lt"/>
                <a:cs typeface="+mn-lt"/>
              </a:rPr>
              <a:t>, but the total revenue saw a slight drop.</a:t>
            </a:r>
            <a:endParaRPr lang="en-US" dirty="0">
              <a:ea typeface="+mn-lt"/>
              <a:cs typeface="+mn-lt"/>
            </a:endParaRPr>
          </a:p>
        </p:txBody>
      </p:sp>
      <p:grpSp>
        <p:nvGrpSpPr>
          <p:cNvPr id="4" name="Group 3">
            <a:extLst>
              <a:ext uri="{FF2B5EF4-FFF2-40B4-BE49-F238E27FC236}">
                <a16:creationId xmlns:a16="http://schemas.microsoft.com/office/drawing/2014/main" id="{07190D34-978B-21FD-D6AD-FFF2FD433FB9}"/>
              </a:ext>
            </a:extLst>
          </p:cNvPr>
          <p:cNvGrpSpPr/>
          <p:nvPr/>
        </p:nvGrpSpPr>
        <p:grpSpPr>
          <a:xfrm>
            <a:off x="8285634" y="3929617"/>
            <a:ext cx="3509384" cy="775597"/>
            <a:chOff x="8296217" y="2047855"/>
            <a:chExt cx="3509384" cy="775597"/>
          </a:xfrm>
        </p:grpSpPr>
        <p:sp>
          <p:nvSpPr>
            <p:cNvPr id="18" name="TextBox 17">
              <a:extLst>
                <a:ext uri="{FF2B5EF4-FFF2-40B4-BE49-F238E27FC236}">
                  <a16:creationId xmlns:a16="http://schemas.microsoft.com/office/drawing/2014/main" id="{5D00503B-B534-FD22-FCEB-E96F68F26583}"/>
                </a:ext>
              </a:extLst>
            </p:cNvPr>
            <p:cNvSpPr txBox="1"/>
            <p:nvPr/>
          </p:nvSpPr>
          <p:spPr>
            <a:xfrm>
              <a:off x="8843226" y="2047855"/>
              <a:ext cx="2962375" cy="7755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just">
                <a:lnSpc>
                  <a:spcPct val="90000"/>
                </a:lnSpc>
              </a:pPr>
              <a:r>
                <a:rPr lang="en-US" sz="1400" b="1">
                  <a:ea typeface="+mn-lt"/>
                  <a:cs typeface="+mn-lt"/>
                </a:rPr>
                <a:t>Durable Goods'</a:t>
              </a:r>
              <a:r>
                <a:rPr lang="en-US" sz="1400">
                  <a:ea typeface="+mn-lt"/>
                  <a:cs typeface="+mn-lt"/>
                </a:rPr>
                <a:t> sales remained </a:t>
              </a:r>
              <a:endParaRPr lang="en-US">
                <a:ea typeface="+mn-lt"/>
                <a:cs typeface="+mn-lt"/>
              </a:endParaRPr>
            </a:p>
            <a:p>
              <a:pPr algn="just">
                <a:lnSpc>
                  <a:spcPct val="90000"/>
                </a:lnSpc>
              </a:pPr>
              <a:r>
                <a:rPr lang="en-US" sz="1400" b="1">
                  <a:ea typeface="+mn-lt"/>
                  <a:cs typeface="+mn-lt"/>
                </a:rPr>
                <a:t>steady</a:t>
              </a:r>
              <a:r>
                <a:rPr lang="en-US" sz="1400">
                  <a:ea typeface="+mn-lt"/>
                  <a:cs typeface="+mn-lt"/>
                </a:rPr>
                <a:t> at </a:t>
              </a:r>
              <a:r>
                <a:rPr lang="en-US" sz="1400" b="1">
                  <a:ea typeface="+mn-lt"/>
                  <a:cs typeface="+mn-lt"/>
                </a:rPr>
                <a:t>25%</a:t>
              </a:r>
              <a:r>
                <a:rPr lang="en-US" sz="1400">
                  <a:ea typeface="+mn-lt"/>
                  <a:cs typeface="+mn-lt"/>
                </a:rPr>
                <a:t>, while </a:t>
              </a:r>
              <a:r>
                <a:rPr lang="en-US" sz="1400" b="1">
                  <a:ea typeface="+mn-lt"/>
                  <a:cs typeface="+mn-lt"/>
                </a:rPr>
                <a:t>Fast-moving Goods </a:t>
              </a:r>
              <a:r>
                <a:rPr lang="en-US" sz="1400">
                  <a:ea typeface="+mn-lt"/>
                  <a:cs typeface="+mn-lt"/>
                </a:rPr>
                <a:t>grew slightly from</a:t>
              </a:r>
              <a:r>
                <a:rPr lang="en-US" sz="1400" b="1">
                  <a:ea typeface="+mn-lt"/>
                  <a:cs typeface="+mn-lt"/>
                </a:rPr>
                <a:t> 66% </a:t>
              </a:r>
              <a:r>
                <a:rPr lang="en-US" sz="1400">
                  <a:ea typeface="+mn-lt"/>
                  <a:cs typeface="+mn-lt"/>
                </a:rPr>
                <a:t>to</a:t>
              </a:r>
              <a:r>
                <a:rPr lang="en-US" sz="1400" b="1">
                  <a:ea typeface="+mn-lt"/>
                  <a:cs typeface="+mn-lt"/>
                </a:rPr>
                <a:t> 67%</a:t>
              </a:r>
              <a:r>
                <a:rPr lang="en-US" sz="1400">
                  <a:ea typeface="+mn-lt"/>
                  <a:cs typeface="+mn-lt"/>
                </a:rPr>
                <a:t>.</a:t>
              </a:r>
              <a:endParaRPr lang="en-US">
                <a:ea typeface="+mn-lt"/>
                <a:cs typeface="+mn-lt"/>
              </a:endParaRPr>
            </a:p>
          </p:txBody>
        </p:sp>
        <p:pic>
          <p:nvPicPr>
            <p:cNvPr id="2" name="圖片 11" descr="一張含有 樣式, 藝術, 對稱, 鮮豔 的圖片&#10;&#10;AI 產生的內容可能不正確。">
              <a:extLst>
                <a:ext uri="{FF2B5EF4-FFF2-40B4-BE49-F238E27FC236}">
                  <a16:creationId xmlns:a16="http://schemas.microsoft.com/office/drawing/2014/main" id="{94F30786-776E-83D0-B1BB-6F63D575B77A}"/>
                </a:ext>
              </a:extLst>
            </p:cNvPr>
            <p:cNvPicPr>
              <a:picLocks noChangeAspect="1"/>
            </p:cNvPicPr>
            <p:nvPr/>
          </p:nvPicPr>
          <p:blipFill>
            <a:blip r:embed="rId3"/>
            <a:stretch>
              <a:fillRect/>
            </a:stretch>
          </p:blipFill>
          <p:spPr>
            <a:xfrm>
              <a:off x="8296217" y="2278763"/>
              <a:ext cx="495177" cy="410133"/>
            </a:xfrm>
            <a:prstGeom prst="rect">
              <a:avLst/>
            </a:prstGeom>
          </p:spPr>
        </p:pic>
      </p:grpSp>
      <p:grpSp>
        <p:nvGrpSpPr>
          <p:cNvPr id="23" name="Group 22">
            <a:extLst>
              <a:ext uri="{FF2B5EF4-FFF2-40B4-BE49-F238E27FC236}">
                <a16:creationId xmlns:a16="http://schemas.microsoft.com/office/drawing/2014/main" id="{B83976E3-C908-FBA0-7187-057934430CFD}"/>
              </a:ext>
            </a:extLst>
          </p:cNvPr>
          <p:cNvGrpSpPr/>
          <p:nvPr/>
        </p:nvGrpSpPr>
        <p:grpSpPr>
          <a:xfrm>
            <a:off x="8297332" y="497416"/>
            <a:ext cx="3512123" cy="861774"/>
            <a:chOff x="8297332" y="253999"/>
            <a:chExt cx="3512123" cy="861774"/>
          </a:xfrm>
        </p:grpSpPr>
        <p:sp>
          <p:nvSpPr>
            <p:cNvPr id="17" name="Freeform 522">
              <a:extLst>
                <a:ext uri="{FF2B5EF4-FFF2-40B4-BE49-F238E27FC236}">
                  <a16:creationId xmlns:a16="http://schemas.microsoft.com/office/drawing/2014/main" id="{D66DE05B-56AD-EDF2-D672-30EA59BFBE32}"/>
                </a:ext>
              </a:extLst>
            </p:cNvPr>
            <p:cNvSpPr>
              <a:spLocks noEditPoints="1"/>
            </p:cNvSpPr>
            <p:nvPr/>
          </p:nvSpPr>
          <p:spPr bwMode="gray">
            <a:xfrm>
              <a:off x="8297332" y="385734"/>
              <a:ext cx="428290" cy="375373"/>
            </a:xfrm>
            <a:custGeom>
              <a:avLst/>
              <a:gdLst>
                <a:gd name="T0" fmla="*/ 147 w 294"/>
                <a:gd name="T1" fmla="*/ 0 h 294"/>
                <a:gd name="T2" fmla="*/ 0 w 294"/>
                <a:gd name="T3" fmla="*/ 147 h 294"/>
                <a:gd name="T4" fmla="*/ 147 w 294"/>
                <a:gd name="T5" fmla="*/ 294 h 294"/>
                <a:gd name="T6" fmla="*/ 294 w 294"/>
                <a:gd name="T7" fmla="*/ 147 h 294"/>
                <a:gd name="T8" fmla="*/ 147 w 294"/>
                <a:gd name="T9" fmla="*/ 0 h 294"/>
                <a:gd name="T10" fmla="*/ 147 w 294"/>
                <a:gd name="T11" fmla="*/ 286 h 294"/>
                <a:gd name="T12" fmla="*/ 8 w 294"/>
                <a:gd name="T13" fmla="*/ 147 h 294"/>
                <a:gd name="T14" fmla="*/ 16 w 294"/>
                <a:gd name="T15" fmla="*/ 99 h 294"/>
                <a:gd name="T16" fmla="*/ 18 w 294"/>
                <a:gd name="T17" fmla="*/ 101 h 294"/>
                <a:gd name="T18" fmla="*/ 26 w 294"/>
                <a:gd name="T19" fmla="*/ 104 h 294"/>
                <a:gd name="T20" fmla="*/ 42 w 294"/>
                <a:gd name="T21" fmla="*/ 113 h 294"/>
                <a:gd name="T22" fmla="*/ 57 w 294"/>
                <a:gd name="T23" fmla="*/ 125 h 294"/>
                <a:gd name="T24" fmla="*/ 72 w 294"/>
                <a:gd name="T25" fmla="*/ 128 h 294"/>
                <a:gd name="T26" fmla="*/ 88 w 294"/>
                <a:gd name="T27" fmla="*/ 133 h 294"/>
                <a:gd name="T28" fmla="*/ 81 w 294"/>
                <a:gd name="T29" fmla="*/ 150 h 294"/>
                <a:gd name="T30" fmla="*/ 73 w 294"/>
                <a:gd name="T31" fmla="*/ 165 h 294"/>
                <a:gd name="T32" fmla="*/ 98 w 294"/>
                <a:gd name="T33" fmla="*/ 188 h 294"/>
                <a:gd name="T34" fmla="*/ 97 w 294"/>
                <a:gd name="T35" fmla="*/ 200 h 294"/>
                <a:gd name="T36" fmla="*/ 107 w 294"/>
                <a:gd name="T37" fmla="*/ 214 h 294"/>
                <a:gd name="T38" fmla="*/ 125 w 294"/>
                <a:gd name="T39" fmla="*/ 245 h 294"/>
                <a:gd name="T40" fmla="*/ 136 w 294"/>
                <a:gd name="T41" fmla="*/ 259 h 294"/>
                <a:gd name="T42" fmla="*/ 143 w 294"/>
                <a:gd name="T43" fmla="*/ 273 h 294"/>
                <a:gd name="T44" fmla="*/ 150 w 294"/>
                <a:gd name="T45" fmla="*/ 224 h 294"/>
                <a:gd name="T46" fmla="*/ 171 w 294"/>
                <a:gd name="T47" fmla="*/ 187 h 294"/>
                <a:gd name="T48" fmla="*/ 172 w 294"/>
                <a:gd name="T49" fmla="*/ 180 h 294"/>
                <a:gd name="T50" fmla="*/ 175 w 294"/>
                <a:gd name="T51" fmla="*/ 178 h 294"/>
                <a:gd name="T52" fmla="*/ 180 w 294"/>
                <a:gd name="T53" fmla="*/ 171 h 294"/>
                <a:gd name="T54" fmla="*/ 182 w 294"/>
                <a:gd name="T55" fmla="*/ 154 h 294"/>
                <a:gd name="T56" fmla="*/ 154 w 294"/>
                <a:gd name="T57" fmla="*/ 137 h 294"/>
                <a:gd name="T58" fmla="*/ 139 w 294"/>
                <a:gd name="T59" fmla="*/ 126 h 294"/>
                <a:gd name="T60" fmla="*/ 127 w 294"/>
                <a:gd name="T61" fmla="*/ 121 h 294"/>
                <a:gd name="T62" fmla="*/ 92 w 294"/>
                <a:gd name="T63" fmla="*/ 125 h 294"/>
                <a:gd name="T64" fmla="*/ 78 w 294"/>
                <a:gd name="T65" fmla="*/ 123 h 294"/>
                <a:gd name="T66" fmla="*/ 68 w 294"/>
                <a:gd name="T67" fmla="*/ 114 h 294"/>
                <a:gd name="T68" fmla="*/ 78 w 294"/>
                <a:gd name="T69" fmla="*/ 100 h 294"/>
                <a:gd name="T70" fmla="*/ 89 w 294"/>
                <a:gd name="T71" fmla="*/ 87 h 294"/>
                <a:gd name="T72" fmla="*/ 107 w 294"/>
                <a:gd name="T73" fmla="*/ 84 h 294"/>
                <a:gd name="T74" fmla="*/ 119 w 294"/>
                <a:gd name="T75" fmla="*/ 97 h 294"/>
                <a:gd name="T76" fmla="*/ 119 w 294"/>
                <a:gd name="T77" fmla="*/ 74 h 294"/>
                <a:gd name="T78" fmla="*/ 129 w 294"/>
                <a:gd name="T79" fmla="*/ 51 h 294"/>
                <a:gd name="T80" fmla="*/ 113 w 294"/>
                <a:gd name="T81" fmla="*/ 35 h 294"/>
                <a:gd name="T82" fmla="*/ 105 w 294"/>
                <a:gd name="T83" fmla="*/ 14 h 294"/>
                <a:gd name="T84" fmla="*/ 105 w 294"/>
                <a:gd name="T85" fmla="*/ 14 h 294"/>
                <a:gd name="T86" fmla="*/ 147 w 294"/>
                <a:gd name="T87" fmla="*/ 8 h 294"/>
                <a:gd name="T88" fmla="*/ 198 w 294"/>
                <a:gd name="T89" fmla="*/ 17 h 294"/>
                <a:gd name="T90" fmla="*/ 198 w 294"/>
                <a:gd name="T91" fmla="*/ 23 h 294"/>
                <a:gd name="T92" fmla="*/ 193 w 294"/>
                <a:gd name="T93" fmla="*/ 31 h 294"/>
                <a:gd name="T94" fmla="*/ 205 w 294"/>
                <a:gd name="T95" fmla="*/ 45 h 294"/>
                <a:gd name="T96" fmla="*/ 211 w 294"/>
                <a:gd name="T97" fmla="*/ 58 h 294"/>
                <a:gd name="T98" fmla="*/ 212 w 294"/>
                <a:gd name="T99" fmla="*/ 66 h 294"/>
                <a:gd name="T100" fmla="*/ 205 w 294"/>
                <a:gd name="T101" fmla="*/ 73 h 294"/>
                <a:gd name="T102" fmla="*/ 211 w 294"/>
                <a:gd name="T103" fmla="*/ 86 h 294"/>
                <a:gd name="T104" fmla="*/ 204 w 294"/>
                <a:gd name="T105" fmla="*/ 100 h 294"/>
                <a:gd name="T106" fmla="*/ 212 w 294"/>
                <a:gd name="T107" fmla="*/ 115 h 294"/>
                <a:gd name="T108" fmla="*/ 230 w 294"/>
                <a:gd name="T109" fmla="*/ 123 h 294"/>
                <a:gd name="T110" fmla="*/ 246 w 294"/>
                <a:gd name="T111" fmla="*/ 119 h 294"/>
                <a:gd name="T112" fmla="*/ 263 w 294"/>
                <a:gd name="T113" fmla="*/ 118 h 294"/>
                <a:gd name="T114" fmla="*/ 279 w 294"/>
                <a:gd name="T115" fmla="*/ 134 h 294"/>
                <a:gd name="T116" fmla="*/ 267 w 294"/>
                <a:gd name="T117" fmla="*/ 162 h 294"/>
                <a:gd name="T118" fmla="*/ 281 w 294"/>
                <a:gd name="T119" fmla="*/ 174 h 294"/>
                <a:gd name="T120" fmla="*/ 285 w 294"/>
                <a:gd name="T121" fmla="*/ 167 h 294"/>
                <a:gd name="T122" fmla="*/ 147 w 294"/>
                <a:gd name="T123" fmla="*/ 28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4" h="294">
                  <a:moveTo>
                    <a:pt x="147" y="0"/>
                  </a:moveTo>
                  <a:cubicBezTo>
                    <a:pt x="66" y="0"/>
                    <a:pt x="0" y="65"/>
                    <a:pt x="0" y="147"/>
                  </a:cubicBezTo>
                  <a:cubicBezTo>
                    <a:pt x="0" y="228"/>
                    <a:pt x="66" y="294"/>
                    <a:pt x="147" y="294"/>
                  </a:cubicBezTo>
                  <a:cubicBezTo>
                    <a:pt x="228" y="294"/>
                    <a:pt x="294" y="228"/>
                    <a:pt x="294" y="147"/>
                  </a:cubicBezTo>
                  <a:cubicBezTo>
                    <a:pt x="294" y="65"/>
                    <a:pt x="228" y="0"/>
                    <a:pt x="147" y="0"/>
                  </a:cubicBezTo>
                  <a:close/>
                  <a:moveTo>
                    <a:pt x="147" y="286"/>
                  </a:moveTo>
                  <a:cubicBezTo>
                    <a:pt x="70" y="286"/>
                    <a:pt x="8" y="224"/>
                    <a:pt x="8" y="147"/>
                  </a:cubicBezTo>
                  <a:cubicBezTo>
                    <a:pt x="8" y="130"/>
                    <a:pt x="11" y="114"/>
                    <a:pt x="16" y="99"/>
                  </a:cubicBezTo>
                  <a:cubicBezTo>
                    <a:pt x="17" y="99"/>
                    <a:pt x="17" y="100"/>
                    <a:pt x="18" y="101"/>
                  </a:cubicBezTo>
                  <a:cubicBezTo>
                    <a:pt x="20" y="103"/>
                    <a:pt x="23" y="103"/>
                    <a:pt x="26" y="104"/>
                  </a:cubicBezTo>
                  <a:cubicBezTo>
                    <a:pt x="32" y="106"/>
                    <a:pt x="36" y="109"/>
                    <a:pt x="42" y="113"/>
                  </a:cubicBezTo>
                  <a:cubicBezTo>
                    <a:pt x="47" y="116"/>
                    <a:pt x="51" y="121"/>
                    <a:pt x="57" y="125"/>
                  </a:cubicBezTo>
                  <a:cubicBezTo>
                    <a:pt x="61" y="127"/>
                    <a:pt x="66" y="127"/>
                    <a:pt x="72" y="128"/>
                  </a:cubicBezTo>
                  <a:cubicBezTo>
                    <a:pt x="78" y="129"/>
                    <a:pt x="82" y="132"/>
                    <a:pt x="88" y="133"/>
                  </a:cubicBezTo>
                  <a:cubicBezTo>
                    <a:pt x="88" y="141"/>
                    <a:pt x="87" y="144"/>
                    <a:pt x="81" y="150"/>
                  </a:cubicBezTo>
                  <a:cubicBezTo>
                    <a:pt x="78" y="154"/>
                    <a:pt x="72" y="159"/>
                    <a:pt x="73" y="165"/>
                  </a:cubicBezTo>
                  <a:cubicBezTo>
                    <a:pt x="77" y="178"/>
                    <a:pt x="95" y="174"/>
                    <a:pt x="98" y="188"/>
                  </a:cubicBezTo>
                  <a:cubicBezTo>
                    <a:pt x="98" y="191"/>
                    <a:pt x="96" y="195"/>
                    <a:pt x="97" y="200"/>
                  </a:cubicBezTo>
                  <a:cubicBezTo>
                    <a:pt x="98" y="204"/>
                    <a:pt x="104" y="209"/>
                    <a:pt x="107" y="214"/>
                  </a:cubicBezTo>
                  <a:cubicBezTo>
                    <a:pt x="113" y="224"/>
                    <a:pt x="121" y="233"/>
                    <a:pt x="125" y="245"/>
                  </a:cubicBezTo>
                  <a:cubicBezTo>
                    <a:pt x="128" y="251"/>
                    <a:pt x="134" y="254"/>
                    <a:pt x="136" y="259"/>
                  </a:cubicBezTo>
                  <a:cubicBezTo>
                    <a:pt x="138" y="264"/>
                    <a:pt x="136" y="275"/>
                    <a:pt x="143" y="273"/>
                  </a:cubicBezTo>
                  <a:cubicBezTo>
                    <a:pt x="140" y="257"/>
                    <a:pt x="141" y="237"/>
                    <a:pt x="150" y="224"/>
                  </a:cubicBezTo>
                  <a:cubicBezTo>
                    <a:pt x="156" y="213"/>
                    <a:pt x="167" y="200"/>
                    <a:pt x="171" y="187"/>
                  </a:cubicBezTo>
                  <a:cubicBezTo>
                    <a:pt x="172" y="186"/>
                    <a:pt x="171" y="182"/>
                    <a:pt x="172" y="180"/>
                  </a:cubicBezTo>
                  <a:cubicBezTo>
                    <a:pt x="173" y="179"/>
                    <a:pt x="175" y="179"/>
                    <a:pt x="175" y="178"/>
                  </a:cubicBezTo>
                  <a:cubicBezTo>
                    <a:pt x="177" y="175"/>
                    <a:pt x="179" y="174"/>
                    <a:pt x="180" y="171"/>
                  </a:cubicBezTo>
                  <a:cubicBezTo>
                    <a:pt x="181" y="167"/>
                    <a:pt x="182" y="158"/>
                    <a:pt x="182" y="154"/>
                  </a:cubicBezTo>
                  <a:cubicBezTo>
                    <a:pt x="180" y="138"/>
                    <a:pt x="164" y="142"/>
                    <a:pt x="154" y="137"/>
                  </a:cubicBezTo>
                  <a:cubicBezTo>
                    <a:pt x="147" y="134"/>
                    <a:pt x="144" y="131"/>
                    <a:pt x="139" y="126"/>
                  </a:cubicBezTo>
                  <a:cubicBezTo>
                    <a:pt x="134" y="121"/>
                    <a:pt x="135" y="121"/>
                    <a:pt x="127" y="121"/>
                  </a:cubicBezTo>
                  <a:cubicBezTo>
                    <a:pt x="115" y="121"/>
                    <a:pt x="104" y="125"/>
                    <a:pt x="92" y="125"/>
                  </a:cubicBezTo>
                  <a:cubicBezTo>
                    <a:pt x="87" y="125"/>
                    <a:pt x="83" y="123"/>
                    <a:pt x="78" y="123"/>
                  </a:cubicBezTo>
                  <a:cubicBezTo>
                    <a:pt x="69" y="122"/>
                    <a:pt x="65" y="124"/>
                    <a:pt x="68" y="114"/>
                  </a:cubicBezTo>
                  <a:cubicBezTo>
                    <a:pt x="70" y="107"/>
                    <a:pt x="75" y="105"/>
                    <a:pt x="78" y="100"/>
                  </a:cubicBezTo>
                  <a:cubicBezTo>
                    <a:pt x="82" y="95"/>
                    <a:pt x="82" y="91"/>
                    <a:pt x="89" y="87"/>
                  </a:cubicBezTo>
                  <a:cubicBezTo>
                    <a:pt x="96" y="82"/>
                    <a:pt x="100" y="79"/>
                    <a:pt x="107" y="84"/>
                  </a:cubicBezTo>
                  <a:cubicBezTo>
                    <a:pt x="111" y="87"/>
                    <a:pt x="114" y="96"/>
                    <a:pt x="119" y="97"/>
                  </a:cubicBezTo>
                  <a:cubicBezTo>
                    <a:pt x="119" y="88"/>
                    <a:pt x="116" y="83"/>
                    <a:pt x="119" y="74"/>
                  </a:cubicBezTo>
                  <a:cubicBezTo>
                    <a:pt x="123" y="66"/>
                    <a:pt x="130" y="60"/>
                    <a:pt x="129" y="51"/>
                  </a:cubicBezTo>
                  <a:cubicBezTo>
                    <a:pt x="127" y="39"/>
                    <a:pt x="123" y="41"/>
                    <a:pt x="113" y="35"/>
                  </a:cubicBezTo>
                  <a:cubicBezTo>
                    <a:pt x="105" y="30"/>
                    <a:pt x="105" y="23"/>
                    <a:pt x="105" y="14"/>
                  </a:cubicBezTo>
                  <a:cubicBezTo>
                    <a:pt x="105" y="14"/>
                    <a:pt x="105" y="14"/>
                    <a:pt x="105" y="14"/>
                  </a:cubicBezTo>
                  <a:cubicBezTo>
                    <a:pt x="118" y="10"/>
                    <a:pt x="132" y="8"/>
                    <a:pt x="147" y="8"/>
                  </a:cubicBezTo>
                  <a:cubicBezTo>
                    <a:pt x="165" y="8"/>
                    <a:pt x="183" y="11"/>
                    <a:pt x="198" y="17"/>
                  </a:cubicBezTo>
                  <a:cubicBezTo>
                    <a:pt x="198" y="19"/>
                    <a:pt x="200" y="21"/>
                    <a:pt x="198" y="23"/>
                  </a:cubicBezTo>
                  <a:cubicBezTo>
                    <a:pt x="197" y="26"/>
                    <a:pt x="194" y="26"/>
                    <a:pt x="193" y="31"/>
                  </a:cubicBezTo>
                  <a:cubicBezTo>
                    <a:pt x="190" y="40"/>
                    <a:pt x="199" y="41"/>
                    <a:pt x="205" y="45"/>
                  </a:cubicBezTo>
                  <a:cubicBezTo>
                    <a:pt x="212" y="48"/>
                    <a:pt x="210" y="51"/>
                    <a:pt x="211" y="58"/>
                  </a:cubicBezTo>
                  <a:cubicBezTo>
                    <a:pt x="212" y="61"/>
                    <a:pt x="214" y="61"/>
                    <a:pt x="212" y="66"/>
                  </a:cubicBezTo>
                  <a:cubicBezTo>
                    <a:pt x="210" y="69"/>
                    <a:pt x="205" y="68"/>
                    <a:pt x="205" y="73"/>
                  </a:cubicBezTo>
                  <a:cubicBezTo>
                    <a:pt x="204" y="81"/>
                    <a:pt x="211" y="80"/>
                    <a:pt x="211" y="86"/>
                  </a:cubicBezTo>
                  <a:cubicBezTo>
                    <a:pt x="212" y="93"/>
                    <a:pt x="205" y="94"/>
                    <a:pt x="204" y="100"/>
                  </a:cubicBezTo>
                  <a:cubicBezTo>
                    <a:pt x="201" y="109"/>
                    <a:pt x="206" y="112"/>
                    <a:pt x="212" y="115"/>
                  </a:cubicBezTo>
                  <a:cubicBezTo>
                    <a:pt x="218" y="118"/>
                    <a:pt x="224" y="122"/>
                    <a:pt x="230" y="123"/>
                  </a:cubicBezTo>
                  <a:cubicBezTo>
                    <a:pt x="237" y="123"/>
                    <a:pt x="240" y="119"/>
                    <a:pt x="246" y="119"/>
                  </a:cubicBezTo>
                  <a:cubicBezTo>
                    <a:pt x="252" y="118"/>
                    <a:pt x="258" y="118"/>
                    <a:pt x="263" y="118"/>
                  </a:cubicBezTo>
                  <a:cubicBezTo>
                    <a:pt x="276" y="117"/>
                    <a:pt x="279" y="120"/>
                    <a:pt x="279" y="134"/>
                  </a:cubicBezTo>
                  <a:cubicBezTo>
                    <a:pt x="278" y="145"/>
                    <a:pt x="265" y="150"/>
                    <a:pt x="267" y="162"/>
                  </a:cubicBezTo>
                  <a:cubicBezTo>
                    <a:pt x="268" y="166"/>
                    <a:pt x="277" y="176"/>
                    <a:pt x="281" y="174"/>
                  </a:cubicBezTo>
                  <a:cubicBezTo>
                    <a:pt x="282" y="174"/>
                    <a:pt x="283" y="170"/>
                    <a:pt x="285" y="167"/>
                  </a:cubicBezTo>
                  <a:cubicBezTo>
                    <a:pt x="275" y="234"/>
                    <a:pt x="217" y="286"/>
                    <a:pt x="147" y="286"/>
                  </a:cubicBezTo>
                  <a:close/>
                </a:path>
              </a:pathLst>
            </a:custGeom>
            <a:solidFill>
              <a:schemeClr val="tx2"/>
            </a:solidFill>
            <a:ln>
              <a:noFill/>
            </a:ln>
          </p:spPr>
          <p:txBody>
            <a:bodyPr/>
            <a:lstStyle/>
            <a:p>
              <a:endParaRPr lang="en-US"/>
            </a:p>
          </p:txBody>
        </p:sp>
        <p:sp>
          <p:nvSpPr>
            <p:cNvPr id="19" name="TextBox 18">
              <a:extLst>
                <a:ext uri="{FF2B5EF4-FFF2-40B4-BE49-F238E27FC236}">
                  <a16:creationId xmlns:a16="http://schemas.microsoft.com/office/drawing/2014/main" id="{3F1E6588-809E-9255-3F60-BE885DA6BFA8}"/>
                </a:ext>
              </a:extLst>
            </p:cNvPr>
            <p:cNvSpPr txBox="1"/>
            <p:nvPr/>
          </p:nvSpPr>
          <p:spPr>
            <a:xfrm>
              <a:off x="8826500" y="253999"/>
              <a:ext cx="2982955" cy="86177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just"/>
              <a:r>
                <a:rPr lang="en-US" sz="1400">
                  <a:ea typeface="+mn-lt"/>
                  <a:cs typeface="+mn-lt"/>
                </a:rPr>
                <a:t>The </a:t>
              </a:r>
              <a:r>
                <a:rPr lang="en-US" sz="1400" b="1">
                  <a:ea typeface="+mn-lt"/>
                  <a:cs typeface="+mn-lt"/>
                </a:rPr>
                <a:t>overall market</a:t>
              </a:r>
              <a:r>
                <a:rPr lang="en-US" sz="1400">
                  <a:ea typeface="+mn-lt"/>
                  <a:cs typeface="+mn-lt"/>
                </a:rPr>
                <a:t> contracted by </a:t>
              </a:r>
              <a:r>
                <a:rPr lang="en-US" sz="1400" b="1">
                  <a:ea typeface="+mn-lt"/>
                  <a:cs typeface="+mn-lt"/>
                </a:rPr>
                <a:t>8%</a:t>
              </a:r>
              <a:r>
                <a:rPr lang="en-US" sz="1400">
                  <a:ea typeface="+mn-lt"/>
                  <a:cs typeface="+mn-lt"/>
                </a:rPr>
                <a:t>, while Client’s share dropped from </a:t>
              </a:r>
              <a:r>
                <a:rPr lang="en-US" sz="1400" b="1">
                  <a:ea typeface="+mn-lt"/>
                  <a:cs typeface="+mn-lt"/>
                </a:rPr>
                <a:t>17.3% to 16.3%</a:t>
              </a:r>
              <a:r>
                <a:rPr lang="en-US" sz="1400">
                  <a:ea typeface="+mn-lt"/>
                  <a:cs typeface="+mn-lt"/>
                </a:rPr>
                <a:t>  (a relative decline of about 5.8%)</a:t>
              </a:r>
              <a:endParaRPr lang="en-US">
                <a:cs typeface="Arial"/>
              </a:endParaRPr>
            </a:p>
          </p:txBody>
        </p:sp>
      </p:grpSp>
      <p:graphicFrame>
        <p:nvGraphicFramePr>
          <p:cNvPr id="20" name="Chart 19">
            <a:extLst>
              <a:ext uri="{FF2B5EF4-FFF2-40B4-BE49-F238E27FC236}">
                <a16:creationId xmlns:a16="http://schemas.microsoft.com/office/drawing/2014/main" id="{AD8BF1DF-6F29-D077-BDE3-29E8A16C9D79}"/>
              </a:ext>
            </a:extLst>
          </p:cNvPr>
          <p:cNvGraphicFramePr>
            <a:graphicFrameLocks/>
          </p:cNvGraphicFramePr>
          <p:nvPr>
            <p:extLst>
              <p:ext uri="{D42A27DB-BD31-4B8C-83A1-F6EECF244321}">
                <p14:modId xmlns:p14="http://schemas.microsoft.com/office/powerpoint/2010/main" val="3280769594"/>
              </p:ext>
            </p:extLst>
          </p:nvPr>
        </p:nvGraphicFramePr>
        <p:xfrm>
          <a:off x="3028763" y="386291"/>
          <a:ext cx="5122333" cy="273261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hlinkClick r:id="rId5" action="ppaction://hlinksldjump"/>
            <a:extLst>
              <a:ext uri="{FF2B5EF4-FFF2-40B4-BE49-F238E27FC236}">
                <a16:creationId xmlns:a16="http://schemas.microsoft.com/office/drawing/2014/main" id="{3D785239-791A-76C3-9342-895C34EF7709}"/>
              </a:ext>
            </a:extLst>
          </p:cNvPr>
          <p:cNvSpPr txBox="1"/>
          <p:nvPr/>
        </p:nvSpPr>
        <p:spPr>
          <a:xfrm>
            <a:off x="380228" y="3029951"/>
            <a:ext cx="1453924" cy="193899"/>
          </a:xfrm>
          <a:prstGeom prst="rect">
            <a:avLst/>
          </a:prstGeom>
          <a:noFill/>
        </p:spPr>
        <p:txBody>
          <a:bodyPr wrap="none" lIns="0" tIns="0" rIns="0" bIns="0" rtlCol="0">
            <a:spAutoFit/>
          </a:bodyPr>
          <a:lstStyle/>
          <a:p>
            <a:pPr algn="l">
              <a:lnSpc>
                <a:spcPct val="90000"/>
              </a:lnSpc>
            </a:pPr>
            <a:r>
              <a:rPr lang="en-US" sz="1400">
                <a:solidFill>
                  <a:schemeClr val="accent3"/>
                </a:solidFill>
                <a:hlinkClick r:id="rId6" action="ppaction://hlinksldjump">
                  <a:extLst>
                    <a:ext uri="{A12FA001-AC4F-418D-AE19-62706E023703}">
                      <ahyp:hlinkClr xmlns:ahyp="http://schemas.microsoft.com/office/drawing/2018/hyperlinkcolor" val="tx"/>
                    </a:ext>
                  </a:extLst>
                </a:hlinkClick>
              </a:rPr>
              <a:t>Back to main slide</a:t>
            </a:r>
            <a:endParaRPr lang="en-US" sz="1400">
              <a:solidFill>
                <a:schemeClr val="accent3"/>
              </a:solidFill>
            </a:endParaRPr>
          </a:p>
        </p:txBody>
      </p:sp>
      <p:pic>
        <p:nvPicPr>
          <p:cNvPr id="13" name="圖片 11" descr="一張含有 樣式, 藝術, 對稱, 鮮豔 的圖片&#10;&#10;AI 產生的內容可能不正確。">
            <a:extLst>
              <a:ext uri="{FF2B5EF4-FFF2-40B4-BE49-F238E27FC236}">
                <a16:creationId xmlns:a16="http://schemas.microsoft.com/office/drawing/2014/main" id="{1DD200F3-FA78-2D8D-90A4-50C5394D36F9}"/>
              </a:ext>
            </a:extLst>
          </p:cNvPr>
          <p:cNvPicPr>
            <a:picLocks noChangeAspect="1"/>
          </p:cNvPicPr>
          <p:nvPr/>
        </p:nvPicPr>
        <p:blipFill>
          <a:blip r:embed="rId3"/>
          <a:stretch>
            <a:fillRect/>
          </a:stretch>
        </p:blipFill>
        <p:spPr>
          <a:xfrm>
            <a:off x="8285634" y="2832468"/>
            <a:ext cx="495177" cy="410133"/>
          </a:xfrm>
          <a:prstGeom prst="rect">
            <a:avLst/>
          </a:prstGeom>
        </p:spPr>
      </p:pic>
      <p:pic>
        <p:nvPicPr>
          <p:cNvPr id="24" name="圖片 11" descr="一張含有 樣式, 藝術, 對稱, 鮮豔 的圖片&#10;&#10;AI 產生的內容可能不正確。">
            <a:extLst>
              <a:ext uri="{FF2B5EF4-FFF2-40B4-BE49-F238E27FC236}">
                <a16:creationId xmlns:a16="http://schemas.microsoft.com/office/drawing/2014/main" id="{18BC31A0-1FB8-0163-F780-CDDF6F3C2AAF}"/>
              </a:ext>
            </a:extLst>
          </p:cNvPr>
          <p:cNvPicPr>
            <a:picLocks noChangeAspect="1"/>
          </p:cNvPicPr>
          <p:nvPr/>
        </p:nvPicPr>
        <p:blipFill>
          <a:blip r:embed="rId3"/>
          <a:stretch>
            <a:fillRect/>
          </a:stretch>
        </p:blipFill>
        <p:spPr>
          <a:xfrm>
            <a:off x="8285634" y="1751154"/>
            <a:ext cx="495177" cy="410133"/>
          </a:xfrm>
          <a:prstGeom prst="rect">
            <a:avLst/>
          </a:prstGeom>
        </p:spPr>
      </p:pic>
    </p:spTree>
    <p:extLst>
      <p:ext uri="{BB962C8B-B14F-4D97-AF65-F5344CB8AC3E}">
        <p14:creationId xmlns:p14="http://schemas.microsoft.com/office/powerpoint/2010/main" val="19539552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AF57BE-2F6B-9DDB-183B-88D4539EE1BE}"/>
              </a:ext>
            </a:extLst>
          </p:cNvPr>
          <p:cNvGraphicFramePr>
            <a:graphicFrameLocks noChangeAspect="1"/>
          </p:cNvGraphicFramePr>
          <p:nvPr>
            <p:custDataLst>
              <p:tags r:id="rId1"/>
            </p:custDataLst>
            <p:extLst>
              <p:ext uri="{D42A27DB-BD31-4B8C-83A1-F6EECF244321}">
                <p14:modId xmlns:p14="http://schemas.microsoft.com/office/powerpoint/2010/main" val="160014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7FAF57BE-2F6B-9DDB-183B-88D4539EE1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5174ED2-FDB1-EBB4-1379-8F28F442B461}"/>
              </a:ext>
            </a:extLst>
          </p:cNvPr>
          <p:cNvSpPr>
            <a:spLocks noGrp="1"/>
          </p:cNvSpPr>
          <p:nvPr>
            <p:ph type="title"/>
          </p:nvPr>
        </p:nvSpPr>
        <p:spPr/>
        <p:txBody>
          <a:bodyPr vert="horz"/>
          <a:lstStyle/>
          <a:p>
            <a:r>
              <a:rPr lang="en-US"/>
              <a:t>Agenda</a:t>
            </a:r>
            <a:br>
              <a:rPr lang="en-US"/>
            </a:br>
            <a:endParaRPr lang="en-US"/>
          </a:p>
        </p:txBody>
      </p:sp>
      <p:grpSp>
        <p:nvGrpSpPr>
          <p:cNvPr id="36" name="Group 35">
            <a:extLst>
              <a:ext uri="{FF2B5EF4-FFF2-40B4-BE49-F238E27FC236}">
                <a16:creationId xmlns:a16="http://schemas.microsoft.com/office/drawing/2014/main" id="{20AE757D-FBD3-9236-B6C3-4AA3436C839C}"/>
              </a:ext>
            </a:extLst>
          </p:cNvPr>
          <p:cNvGrpSpPr/>
          <p:nvPr/>
        </p:nvGrpSpPr>
        <p:grpSpPr>
          <a:xfrm>
            <a:off x="5334000" y="0"/>
            <a:ext cx="6858000" cy="6858000"/>
            <a:chOff x="9906000" y="0"/>
            <a:chExt cx="2286001" cy="6858000"/>
          </a:xfrm>
        </p:grpSpPr>
        <p:sp>
          <p:nvSpPr>
            <p:cNvPr id="25" name="Grid1">
              <a:extLst>
                <a:ext uri="{FF2B5EF4-FFF2-40B4-BE49-F238E27FC236}">
                  <a16:creationId xmlns:a16="http://schemas.microsoft.com/office/drawing/2014/main" id="{E3CA81A6-54E0-6F0A-F523-A6446176B47B}"/>
                </a:ext>
              </a:extLst>
            </p:cNvPr>
            <p:cNvSpPr/>
            <p:nvPr/>
          </p:nvSpPr>
          <p:spPr bwMode="gray">
            <a:xfrm>
              <a:off x="9906001" y="0"/>
              <a:ext cx="2285995" cy="1371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0" tIns="381000" rIns="381000" bIns="381000" numCol="1" spcCol="0" rtlCol="0" fromWordArt="0" anchor="t" anchorCtr="0" forceAA="0" compatLnSpc="1">
              <a:prstTxWarp prst="textNoShape">
                <a:avLst/>
              </a:prstTxWarp>
              <a:noAutofit/>
            </a:bodyPr>
            <a:lstStyle/>
            <a:p>
              <a:pPr>
                <a:lnSpc>
                  <a:spcPct val="90000"/>
                </a:lnSpc>
              </a:pPr>
              <a:endParaRPr lang="en-US" sz="1400" err="1">
                <a:solidFill>
                  <a:schemeClr val="tx1"/>
                </a:solidFill>
              </a:endParaRPr>
            </a:p>
          </p:txBody>
        </p:sp>
        <p:sp>
          <p:nvSpPr>
            <p:cNvPr id="26" name="Grid1">
              <a:extLst>
                <a:ext uri="{FF2B5EF4-FFF2-40B4-BE49-F238E27FC236}">
                  <a16:creationId xmlns:a16="http://schemas.microsoft.com/office/drawing/2014/main" id="{32BF37CE-1CC2-922D-A24D-9B5699CA8C68}"/>
                </a:ext>
              </a:extLst>
            </p:cNvPr>
            <p:cNvSpPr/>
            <p:nvPr/>
          </p:nvSpPr>
          <p:spPr bwMode="gray">
            <a:xfrm>
              <a:off x="9906000" y="1371600"/>
              <a:ext cx="2285995"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0" tIns="381000" rIns="381000" bIns="381000" numCol="1" spcCol="0" rtlCol="0" fromWordArt="0" anchor="t" anchorCtr="0" forceAA="0" compatLnSpc="1">
              <a:prstTxWarp prst="textNoShape">
                <a:avLst/>
              </a:prstTxWarp>
              <a:noAutofit/>
            </a:bodyPr>
            <a:lstStyle/>
            <a:p>
              <a:pPr>
                <a:lnSpc>
                  <a:spcPct val="90000"/>
                </a:lnSpc>
              </a:pPr>
              <a:endParaRPr lang="en-US" sz="1400" err="1">
                <a:solidFill>
                  <a:schemeClr val="tx1"/>
                </a:solidFill>
              </a:endParaRPr>
            </a:p>
          </p:txBody>
        </p:sp>
        <p:sp>
          <p:nvSpPr>
            <p:cNvPr id="27" name="Grid1">
              <a:extLst>
                <a:ext uri="{FF2B5EF4-FFF2-40B4-BE49-F238E27FC236}">
                  <a16:creationId xmlns:a16="http://schemas.microsoft.com/office/drawing/2014/main" id="{5CB74811-5A8E-3700-31BB-5E1D118C46D5}"/>
                </a:ext>
              </a:extLst>
            </p:cNvPr>
            <p:cNvSpPr/>
            <p:nvPr/>
          </p:nvSpPr>
          <p:spPr bwMode="gray">
            <a:xfrm>
              <a:off x="9906006" y="2743200"/>
              <a:ext cx="2285995" cy="1371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0" tIns="381000" rIns="381000" bIns="381000" numCol="1" spcCol="0" rtlCol="0" fromWordArt="0" anchor="t" anchorCtr="0" forceAA="0" compatLnSpc="1">
              <a:prstTxWarp prst="textNoShape">
                <a:avLst/>
              </a:prstTxWarp>
              <a:noAutofit/>
            </a:bodyPr>
            <a:lstStyle/>
            <a:p>
              <a:pPr>
                <a:lnSpc>
                  <a:spcPct val="90000"/>
                </a:lnSpc>
              </a:pPr>
              <a:endParaRPr lang="en-US" sz="1400" err="1">
                <a:solidFill>
                  <a:schemeClr val="tx1"/>
                </a:solidFill>
              </a:endParaRPr>
            </a:p>
          </p:txBody>
        </p:sp>
        <p:sp>
          <p:nvSpPr>
            <p:cNvPr id="28" name="Grid1">
              <a:extLst>
                <a:ext uri="{FF2B5EF4-FFF2-40B4-BE49-F238E27FC236}">
                  <a16:creationId xmlns:a16="http://schemas.microsoft.com/office/drawing/2014/main" id="{6CB7D6B9-955B-98FB-F9C9-010F2D643F31}"/>
                </a:ext>
              </a:extLst>
            </p:cNvPr>
            <p:cNvSpPr/>
            <p:nvPr/>
          </p:nvSpPr>
          <p:spPr bwMode="gray">
            <a:xfrm>
              <a:off x="9906005" y="4114800"/>
              <a:ext cx="2285995"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0" tIns="381000" rIns="381000" bIns="381000" numCol="1" spcCol="0" rtlCol="0" fromWordArt="0" anchor="t" anchorCtr="0" forceAA="0" compatLnSpc="1">
              <a:prstTxWarp prst="textNoShape">
                <a:avLst/>
              </a:prstTxWarp>
              <a:noAutofit/>
            </a:bodyPr>
            <a:lstStyle/>
            <a:p>
              <a:pPr>
                <a:lnSpc>
                  <a:spcPct val="90000"/>
                </a:lnSpc>
              </a:pPr>
              <a:endParaRPr lang="en-US" sz="1400">
                <a:solidFill>
                  <a:schemeClr val="tx1"/>
                </a:solidFill>
              </a:endParaRPr>
            </a:p>
          </p:txBody>
        </p:sp>
        <p:sp>
          <p:nvSpPr>
            <p:cNvPr id="29" name="Grid1">
              <a:extLst>
                <a:ext uri="{FF2B5EF4-FFF2-40B4-BE49-F238E27FC236}">
                  <a16:creationId xmlns:a16="http://schemas.microsoft.com/office/drawing/2014/main" id="{D0C13034-145A-7209-44B3-DFFCE5D0BB4A}"/>
                </a:ext>
              </a:extLst>
            </p:cNvPr>
            <p:cNvSpPr/>
            <p:nvPr/>
          </p:nvSpPr>
          <p:spPr bwMode="gray">
            <a:xfrm>
              <a:off x="9906006" y="5486400"/>
              <a:ext cx="2285995" cy="1371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0" tIns="381000" rIns="381000" bIns="381000" numCol="1" spcCol="0" rtlCol="0" fromWordArt="0" anchor="t" anchorCtr="0" forceAA="0" compatLnSpc="1">
              <a:prstTxWarp prst="textNoShape">
                <a:avLst/>
              </a:prstTxWarp>
              <a:noAutofit/>
            </a:bodyPr>
            <a:lstStyle/>
            <a:p>
              <a:pPr>
                <a:lnSpc>
                  <a:spcPct val="90000"/>
                </a:lnSpc>
              </a:pPr>
              <a:endParaRPr lang="en-US" sz="1400" err="1">
                <a:solidFill>
                  <a:schemeClr val="tx1"/>
                </a:solidFill>
              </a:endParaRPr>
            </a:p>
          </p:txBody>
        </p:sp>
      </p:grpSp>
      <p:sp>
        <p:nvSpPr>
          <p:cNvPr id="30" name="Grid5">
            <a:extLst>
              <a:ext uri="{FF2B5EF4-FFF2-40B4-BE49-F238E27FC236}">
                <a16:creationId xmlns:a16="http://schemas.microsoft.com/office/drawing/2014/main" id="{FC419E5F-E67A-BD85-5B5E-9DBE18D3045C}"/>
              </a:ext>
            </a:extLst>
          </p:cNvPr>
          <p:cNvSpPr/>
          <p:nvPr/>
        </p:nvSpPr>
        <p:spPr bwMode="gray">
          <a:xfrm>
            <a:off x="3048000" y="5486400"/>
            <a:ext cx="2286000"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31" name="Grid4">
            <a:extLst>
              <a:ext uri="{FF2B5EF4-FFF2-40B4-BE49-F238E27FC236}">
                <a16:creationId xmlns:a16="http://schemas.microsoft.com/office/drawing/2014/main" id="{9747E145-511C-2052-82EF-2BF91DD243EB}"/>
              </a:ext>
            </a:extLst>
          </p:cNvPr>
          <p:cNvSpPr/>
          <p:nvPr/>
        </p:nvSpPr>
        <p:spPr bwMode="gray">
          <a:xfrm>
            <a:off x="3048000" y="4114800"/>
            <a:ext cx="2286000" cy="1371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32" name="Grid2">
            <a:extLst>
              <a:ext uri="{FF2B5EF4-FFF2-40B4-BE49-F238E27FC236}">
                <a16:creationId xmlns:a16="http://schemas.microsoft.com/office/drawing/2014/main" id="{B2AF189D-D5F1-375D-F115-68A0115CB203}"/>
              </a:ext>
            </a:extLst>
          </p:cNvPr>
          <p:cNvSpPr/>
          <p:nvPr/>
        </p:nvSpPr>
        <p:spPr bwMode="gray">
          <a:xfrm>
            <a:off x="3048000" y="1371600"/>
            <a:ext cx="2286000" cy="1371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33" name="Grid1">
            <a:extLst>
              <a:ext uri="{FF2B5EF4-FFF2-40B4-BE49-F238E27FC236}">
                <a16:creationId xmlns:a16="http://schemas.microsoft.com/office/drawing/2014/main" id="{92E032F2-84C7-16BA-F7C2-23DFE7301032}"/>
              </a:ext>
            </a:extLst>
          </p:cNvPr>
          <p:cNvSpPr/>
          <p:nvPr/>
        </p:nvSpPr>
        <p:spPr bwMode="gray">
          <a:xfrm>
            <a:off x="3048000" y="0"/>
            <a:ext cx="2286000"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sp>
        <p:nvSpPr>
          <p:cNvPr id="34" name="Grid3">
            <a:extLst>
              <a:ext uri="{FF2B5EF4-FFF2-40B4-BE49-F238E27FC236}">
                <a16:creationId xmlns:a16="http://schemas.microsoft.com/office/drawing/2014/main" id="{73D5A583-A855-DDCD-ED95-26FDA1784875}"/>
              </a:ext>
            </a:extLst>
          </p:cNvPr>
          <p:cNvSpPr/>
          <p:nvPr/>
        </p:nvSpPr>
        <p:spPr bwMode="gray">
          <a:xfrm>
            <a:off x="3048000" y="2744164"/>
            <a:ext cx="2286000" cy="1371600"/>
          </a:xfrm>
          <a:prstGeom prst="rect">
            <a:avLst/>
          </a:prstGeom>
          <a:solidFill>
            <a:schemeClr val="accent1"/>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381000" tIns="381000" rIns="381000" bIns="381000" rtlCol="0" anchor="t" anchorCtr="0">
            <a:noAutofit/>
          </a:bodyPr>
          <a:lstStyle/>
          <a:p>
            <a:pPr algn="l">
              <a:lnSpc>
                <a:spcPct val="90000"/>
              </a:lnSpc>
            </a:pPr>
            <a:endParaRPr lang="en-US" sz="1400" err="1">
              <a:solidFill>
                <a:schemeClr val="tx1"/>
              </a:solidFill>
            </a:endParaRPr>
          </a:p>
        </p:txBody>
      </p:sp>
      <p:grpSp>
        <p:nvGrpSpPr>
          <p:cNvPr id="37" name="Group 36">
            <a:extLst>
              <a:ext uri="{FF2B5EF4-FFF2-40B4-BE49-F238E27FC236}">
                <a16:creationId xmlns:a16="http://schemas.microsoft.com/office/drawing/2014/main" id="{F2B1BF05-DA3D-C071-16D0-1607B1E272D6}"/>
              </a:ext>
            </a:extLst>
          </p:cNvPr>
          <p:cNvGrpSpPr/>
          <p:nvPr/>
        </p:nvGrpSpPr>
        <p:grpSpPr>
          <a:xfrm>
            <a:off x="5742709" y="547301"/>
            <a:ext cx="6068291" cy="5763399"/>
            <a:chOff x="3429000" y="547301"/>
            <a:chExt cx="4450001" cy="5763399"/>
          </a:xfrm>
        </p:grpSpPr>
        <p:sp>
          <p:nvSpPr>
            <p:cNvPr id="24" name="TextBox 23">
              <a:extLst>
                <a:ext uri="{FF2B5EF4-FFF2-40B4-BE49-F238E27FC236}">
                  <a16:creationId xmlns:a16="http://schemas.microsoft.com/office/drawing/2014/main" id="{35682C9C-C576-7914-7027-C80FA3ECA68A}"/>
                </a:ext>
              </a:extLst>
            </p:cNvPr>
            <p:cNvSpPr txBox="1"/>
            <p:nvPr/>
          </p:nvSpPr>
          <p:spPr>
            <a:xfrm>
              <a:off x="3429000" y="547301"/>
              <a:ext cx="2192908" cy="27699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none" lIns="0" tIns="0" rIns="0" bIns="0" numCol="1" spcCol="1270" anchor="ctr" anchorCtr="0">
              <a:spAutoFit/>
            </a:bodyPr>
            <a:lstStyle/>
            <a:p>
              <a:pPr marL="0" lvl="0" indent="0" algn="l" defTabSz="889000">
                <a:lnSpc>
                  <a:spcPct val="100000"/>
                </a:lnSpc>
                <a:spcBef>
                  <a:spcPct val="0"/>
                </a:spcBef>
                <a:buNone/>
              </a:pPr>
              <a:r>
                <a:rPr lang="en-US" b="1" kern="1200">
                  <a:solidFill>
                    <a:schemeClr val="tx1"/>
                  </a:solidFill>
                  <a:latin typeface="+mj-lt"/>
                </a:rPr>
                <a:t>Executive Summary</a:t>
              </a:r>
            </a:p>
          </p:txBody>
        </p:sp>
        <p:sp>
          <p:nvSpPr>
            <p:cNvPr id="22" name="TextBox 21">
              <a:extLst>
                <a:ext uri="{FF2B5EF4-FFF2-40B4-BE49-F238E27FC236}">
                  <a16:creationId xmlns:a16="http://schemas.microsoft.com/office/drawing/2014/main" id="{2FF1B0EE-BF20-813B-B045-493EFA6CCA95}"/>
                </a:ext>
              </a:extLst>
            </p:cNvPr>
            <p:cNvSpPr txBox="1"/>
            <p:nvPr/>
          </p:nvSpPr>
          <p:spPr>
            <a:xfrm>
              <a:off x="3429000" y="1918901"/>
              <a:ext cx="4103688" cy="27699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none" lIns="0" tIns="0" rIns="0" bIns="0" numCol="1" spcCol="1270" anchor="ctr" anchorCtr="0">
              <a:spAutoFit/>
            </a:bodyPr>
            <a:lstStyle/>
            <a:p>
              <a:pPr marL="0" lvl="0" indent="0" algn="l" defTabSz="889000">
                <a:lnSpc>
                  <a:spcPct val="100000"/>
                </a:lnSpc>
                <a:spcBef>
                  <a:spcPct val="0"/>
                </a:spcBef>
                <a:buNone/>
              </a:pPr>
              <a:r>
                <a:rPr lang="en-IN" b="1" kern="1200">
                  <a:latin typeface="+mj-lt"/>
                  <a:cs typeface="Arial" panose="020B0604020202020204" pitchFamily="34" charset="0"/>
                </a:rPr>
                <a:t>Macro Situation of the target industry</a:t>
              </a:r>
              <a:endParaRPr lang="en-US" b="1" kern="1200">
                <a:latin typeface="+mj-lt"/>
                <a:cs typeface="Arial" panose="020B0604020202020204" pitchFamily="34" charset="0"/>
              </a:endParaRPr>
            </a:p>
          </p:txBody>
        </p:sp>
        <p:sp>
          <p:nvSpPr>
            <p:cNvPr id="20" name="TextBox 19">
              <a:extLst>
                <a:ext uri="{FF2B5EF4-FFF2-40B4-BE49-F238E27FC236}">
                  <a16:creationId xmlns:a16="http://schemas.microsoft.com/office/drawing/2014/main" id="{263D0C22-2691-2B0C-3ED4-CB46A3C08CEE}"/>
                </a:ext>
              </a:extLst>
            </p:cNvPr>
            <p:cNvSpPr txBox="1"/>
            <p:nvPr/>
          </p:nvSpPr>
          <p:spPr>
            <a:xfrm>
              <a:off x="3429000" y="3152966"/>
              <a:ext cx="4450001" cy="55399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none" lIns="0" tIns="0" rIns="0" bIns="0" numCol="1" spcCol="1270" anchor="ctr" anchorCtr="0">
              <a:spAutoFit/>
            </a:bodyPr>
            <a:lstStyle/>
            <a:p>
              <a:pPr marL="0" lvl="0" indent="0" algn="l" defTabSz="889000">
                <a:lnSpc>
                  <a:spcPct val="100000"/>
                </a:lnSpc>
                <a:spcBef>
                  <a:spcPct val="0"/>
                </a:spcBef>
                <a:buNone/>
              </a:pPr>
              <a:r>
                <a:rPr lang="en-US" b="1" kern="1200">
                  <a:latin typeface="+mj-lt"/>
                </a:rPr>
                <a:t>Assessing Value Chain Impact of Exiting</a:t>
              </a:r>
              <a:br>
                <a:rPr lang="en-US" b="1" kern="1200">
                  <a:latin typeface="+mj-lt"/>
                </a:rPr>
              </a:br>
              <a:r>
                <a:rPr lang="en-US" b="1" kern="1200">
                  <a:latin typeface="+mj-lt"/>
                </a:rPr>
                <a:t>In-House Production (Issue 1-3)</a:t>
              </a:r>
            </a:p>
          </p:txBody>
        </p:sp>
        <p:sp>
          <p:nvSpPr>
            <p:cNvPr id="18" name="TextBox 17">
              <a:extLst>
                <a:ext uri="{FF2B5EF4-FFF2-40B4-BE49-F238E27FC236}">
                  <a16:creationId xmlns:a16="http://schemas.microsoft.com/office/drawing/2014/main" id="{E8297C26-90AD-0679-65A4-5EECF250491D}"/>
                </a:ext>
              </a:extLst>
            </p:cNvPr>
            <p:cNvSpPr txBox="1"/>
            <p:nvPr/>
          </p:nvSpPr>
          <p:spPr>
            <a:xfrm>
              <a:off x="3429000" y="4523601"/>
              <a:ext cx="4065215" cy="55399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none" lIns="0" tIns="0" rIns="0" bIns="0" numCol="1" spcCol="1270" anchor="ctr" anchorCtr="0">
              <a:spAutoFit/>
            </a:bodyPr>
            <a:lstStyle/>
            <a:p>
              <a:pPr marL="0" lvl="0" indent="0" algn="l" defTabSz="889000">
                <a:lnSpc>
                  <a:spcPct val="100000"/>
                </a:lnSpc>
                <a:spcBef>
                  <a:spcPct val="0"/>
                </a:spcBef>
                <a:buNone/>
              </a:pPr>
              <a:r>
                <a:rPr lang="en-US" b="1" kern="1200">
                  <a:latin typeface="+mj-lt"/>
                </a:rPr>
                <a:t>Strategic Shifts from Brick &amp; Mortar </a:t>
              </a:r>
              <a:br>
                <a:rPr lang="en-US" b="1" kern="1200">
                  <a:latin typeface="+mj-lt"/>
                </a:rPr>
              </a:br>
              <a:r>
                <a:rPr lang="en-US" b="1" kern="1200">
                  <a:latin typeface="+mj-lt"/>
                </a:rPr>
                <a:t>to E-commerce (Issue 4)</a:t>
              </a:r>
            </a:p>
          </p:txBody>
        </p:sp>
        <p:sp>
          <p:nvSpPr>
            <p:cNvPr id="16" name="TextBox 15">
              <a:extLst>
                <a:ext uri="{FF2B5EF4-FFF2-40B4-BE49-F238E27FC236}">
                  <a16:creationId xmlns:a16="http://schemas.microsoft.com/office/drawing/2014/main" id="{896FB2AE-42AA-893A-0D2C-1983AE61C0D3}"/>
                </a:ext>
              </a:extLst>
            </p:cNvPr>
            <p:cNvSpPr txBox="1"/>
            <p:nvPr/>
          </p:nvSpPr>
          <p:spPr>
            <a:xfrm>
              <a:off x="3429000" y="6033701"/>
              <a:ext cx="2667397" cy="27699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none" lIns="0" tIns="0" rIns="0" bIns="0" numCol="1" spcCol="1270" anchor="ctr" anchorCtr="0">
              <a:spAutoFit/>
            </a:bodyPr>
            <a:lstStyle/>
            <a:p>
              <a:pPr marL="0" lvl="0" indent="0" algn="l" defTabSz="889000">
                <a:lnSpc>
                  <a:spcPct val="100000"/>
                </a:lnSpc>
                <a:spcBef>
                  <a:spcPct val="0"/>
                </a:spcBef>
                <a:buNone/>
              </a:pPr>
              <a:r>
                <a:rPr lang="en-US" b="1" kern="1200">
                  <a:latin typeface="+mj-lt"/>
                </a:rPr>
                <a:t>Final Recommendations</a:t>
              </a:r>
            </a:p>
          </p:txBody>
        </p:sp>
      </p:grpSp>
      <p:pic>
        <p:nvPicPr>
          <p:cNvPr id="38" name="Graphic 37">
            <a:extLst>
              <a:ext uri="{FF2B5EF4-FFF2-40B4-BE49-F238E27FC236}">
                <a16:creationId xmlns:a16="http://schemas.microsoft.com/office/drawing/2014/main" id="{12960B63-462E-28CD-51D5-85C76460D1C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0000" y="304800"/>
            <a:ext cx="762000" cy="762000"/>
          </a:xfrm>
          <a:prstGeom prst="rect">
            <a:avLst/>
          </a:prstGeom>
        </p:spPr>
      </p:pic>
      <p:pic>
        <p:nvPicPr>
          <p:cNvPr id="40" name="Graphic 39">
            <a:extLst>
              <a:ext uri="{FF2B5EF4-FFF2-40B4-BE49-F238E27FC236}">
                <a16:creationId xmlns:a16="http://schemas.microsoft.com/office/drawing/2014/main" id="{D122CDFF-E96F-80A6-EA67-68DE83FDC8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11524" y="4421124"/>
            <a:ext cx="758952" cy="758952"/>
          </a:xfrm>
          <a:prstGeom prst="rect">
            <a:avLst/>
          </a:prstGeom>
        </p:spPr>
      </p:pic>
      <p:grpSp>
        <p:nvGrpSpPr>
          <p:cNvPr id="41" name="Group 40">
            <a:extLst>
              <a:ext uri="{FF2B5EF4-FFF2-40B4-BE49-F238E27FC236}">
                <a16:creationId xmlns:a16="http://schemas.microsoft.com/office/drawing/2014/main" id="{71846447-73AF-8BDE-6E0A-D3A05BB2096A}"/>
              </a:ext>
            </a:extLst>
          </p:cNvPr>
          <p:cNvGrpSpPr/>
          <p:nvPr/>
        </p:nvGrpSpPr>
        <p:grpSpPr>
          <a:xfrm>
            <a:off x="3810001" y="3046583"/>
            <a:ext cx="761999" cy="766762"/>
            <a:chOff x="6477002" y="762000"/>
            <a:chExt cx="761999" cy="766762"/>
          </a:xfrm>
        </p:grpSpPr>
        <p:sp>
          <p:nvSpPr>
            <p:cNvPr id="42" name="Freeform: Shape 41">
              <a:extLst>
                <a:ext uri="{FF2B5EF4-FFF2-40B4-BE49-F238E27FC236}">
                  <a16:creationId xmlns:a16="http://schemas.microsoft.com/office/drawing/2014/main" id="{8A971AD3-BF47-F582-DCF4-01696AF81960}"/>
                </a:ext>
              </a:extLst>
            </p:cNvPr>
            <p:cNvSpPr/>
            <p:nvPr/>
          </p:nvSpPr>
          <p:spPr>
            <a:xfrm>
              <a:off x="6498433" y="1290637"/>
              <a:ext cx="328612" cy="238125"/>
            </a:xfrm>
            <a:custGeom>
              <a:avLst/>
              <a:gdLst>
                <a:gd name="connsiteX0" fmla="*/ 278606 w 328612"/>
                <a:gd name="connsiteY0" fmla="*/ 157162 h 238125"/>
                <a:gd name="connsiteX1" fmla="*/ 278606 w 328612"/>
                <a:gd name="connsiteY1" fmla="*/ 161925 h 238125"/>
                <a:gd name="connsiteX2" fmla="*/ 252413 w 328612"/>
                <a:gd name="connsiteY2" fmla="*/ 190500 h 238125"/>
                <a:gd name="connsiteX3" fmla="*/ 73819 w 328612"/>
                <a:gd name="connsiteY3" fmla="*/ 190500 h 238125"/>
                <a:gd name="connsiteX4" fmla="*/ 47625 w 328612"/>
                <a:gd name="connsiteY4" fmla="*/ 161925 h 238125"/>
                <a:gd name="connsiteX5" fmla="*/ 47625 w 328612"/>
                <a:gd name="connsiteY5" fmla="*/ 157162 h 238125"/>
                <a:gd name="connsiteX6" fmla="*/ 2381 w 328612"/>
                <a:gd name="connsiteY6" fmla="*/ 157162 h 238125"/>
                <a:gd name="connsiteX7" fmla="*/ 2381 w 328612"/>
                <a:gd name="connsiteY7" fmla="*/ 161925 h 238125"/>
                <a:gd name="connsiteX8" fmla="*/ 76200 w 328612"/>
                <a:gd name="connsiteY8" fmla="*/ 238125 h 238125"/>
                <a:gd name="connsiteX9" fmla="*/ 254794 w 328612"/>
                <a:gd name="connsiteY9" fmla="*/ 238125 h 238125"/>
                <a:gd name="connsiteX10" fmla="*/ 328613 w 328612"/>
                <a:gd name="connsiteY10" fmla="*/ 161925 h 238125"/>
                <a:gd name="connsiteX11" fmla="*/ 328613 w 328612"/>
                <a:gd name="connsiteY11" fmla="*/ 157162 h 238125"/>
                <a:gd name="connsiteX12" fmla="*/ 278606 w 328612"/>
                <a:gd name="connsiteY12" fmla="*/ 157162 h 238125"/>
                <a:gd name="connsiteX13" fmla="*/ 252413 w 328612"/>
                <a:gd name="connsiteY13" fmla="*/ 0 h 238125"/>
                <a:gd name="connsiteX14" fmla="*/ 73819 w 328612"/>
                <a:gd name="connsiteY14" fmla="*/ 0 h 238125"/>
                <a:gd name="connsiteX15" fmla="*/ 0 w 328612"/>
                <a:gd name="connsiteY15" fmla="*/ 76200 h 238125"/>
                <a:gd name="connsiteX16" fmla="*/ 0 w 328612"/>
                <a:gd name="connsiteY16" fmla="*/ 80962 h 238125"/>
                <a:gd name="connsiteX17" fmla="*/ 45244 w 328612"/>
                <a:gd name="connsiteY17" fmla="*/ 80962 h 238125"/>
                <a:gd name="connsiteX18" fmla="*/ 45244 w 328612"/>
                <a:gd name="connsiteY18" fmla="*/ 76200 h 238125"/>
                <a:gd name="connsiteX19" fmla="*/ 71438 w 328612"/>
                <a:gd name="connsiteY19" fmla="*/ 47625 h 238125"/>
                <a:gd name="connsiteX20" fmla="*/ 250031 w 328612"/>
                <a:gd name="connsiteY20" fmla="*/ 47625 h 238125"/>
                <a:gd name="connsiteX21" fmla="*/ 276225 w 328612"/>
                <a:gd name="connsiteY21" fmla="*/ 76200 h 238125"/>
                <a:gd name="connsiteX22" fmla="*/ 276225 w 328612"/>
                <a:gd name="connsiteY22" fmla="*/ 80962 h 238125"/>
                <a:gd name="connsiteX23" fmla="*/ 321469 w 328612"/>
                <a:gd name="connsiteY23" fmla="*/ 80962 h 238125"/>
                <a:gd name="connsiteX24" fmla="*/ 321469 w 328612"/>
                <a:gd name="connsiteY24" fmla="*/ 76200 h 238125"/>
                <a:gd name="connsiteX25" fmla="*/ 252413 w 328612"/>
                <a:gd name="connsiteY25" fmla="*/ 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8612" h="238125">
                  <a:moveTo>
                    <a:pt x="278606" y="157162"/>
                  </a:moveTo>
                  <a:lnTo>
                    <a:pt x="278606" y="161925"/>
                  </a:lnTo>
                  <a:cubicBezTo>
                    <a:pt x="278606" y="176212"/>
                    <a:pt x="266700" y="190500"/>
                    <a:pt x="252413" y="190500"/>
                  </a:cubicBezTo>
                  <a:lnTo>
                    <a:pt x="73819" y="190500"/>
                  </a:lnTo>
                  <a:cubicBezTo>
                    <a:pt x="59531" y="190500"/>
                    <a:pt x="47625" y="178594"/>
                    <a:pt x="47625" y="161925"/>
                  </a:cubicBezTo>
                  <a:lnTo>
                    <a:pt x="47625" y="157162"/>
                  </a:lnTo>
                  <a:lnTo>
                    <a:pt x="2381" y="157162"/>
                  </a:lnTo>
                  <a:lnTo>
                    <a:pt x="2381" y="161925"/>
                  </a:lnTo>
                  <a:cubicBezTo>
                    <a:pt x="2381" y="202406"/>
                    <a:pt x="35719" y="238125"/>
                    <a:pt x="76200" y="238125"/>
                  </a:cubicBezTo>
                  <a:lnTo>
                    <a:pt x="254794" y="238125"/>
                  </a:lnTo>
                  <a:cubicBezTo>
                    <a:pt x="295275" y="238125"/>
                    <a:pt x="328613" y="204787"/>
                    <a:pt x="328613" y="161925"/>
                  </a:cubicBezTo>
                  <a:lnTo>
                    <a:pt x="328613" y="157162"/>
                  </a:lnTo>
                  <a:lnTo>
                    <a:pt x="278606" y="157162"/>
                  </a:lnTo>
                  <a:close/>
                  <a:moveTo>
                    <a:pt x="252413" y="0"/>
                  </a:moveTo>
                  <a:lnTo>
                    <a:pt x="73819" y="0"/>
                  </a:lnTo>
                  <a:cubicBezTo>
                    <a:pt x="33338" y="0"/>
                    <a:pt x="0" y="33337"/>
                    <a:pt x="0" y="76200"/>
                  </a:cubicBezTo>
                  <a:lnTo>
                    <a:pt x="0" y="80962"/>
                  </a:lnTo>
                  <a:lnTo>
                    <a:pt x="45244" y="80962"/>
                  </a:lnTo>
                  <a:lnTo>
                    <a:pt x="45244" y="76200"/>
                  </a:lnTo>
                  <a:cubicBezTo>
                    <a:pt x="45244" y="61912"/>
                    <a:pt x="57150" y="47625"/>
                    <a:pt x="71438" y="47625"/>
                  </a:cubicBezTo>
                  <a:lnTo>
                    <a:pt x="250031" y="47625"/>
                  </a:lnTo>
                  <a:cubicBezTo>
                    <a:pt x="264319" y="47625"/>
                    <a:pt x="276225" y="59531"/>
                    <a:pt x="276225" y="76200"/>
                  </a:cubicBezTo>
                  <a:lnTo>
                    <a:pt x="276225" y="80962"/>
                  </a:lnTo>
                  <a:lnTo>
                    <a:pt x="321469" y="80962"/>
                  </a:lnTo>
                  <a:lnTo>
                    <a:pt x="321469" y="76200"/>
                  </a:lnTo>
                  <a:cubicBezTo>
                    <a:pt x="326231" y="33337"/>
                    <a:pt x="292894" y="0"/>
                    <a:pt x="252413" y="0"/>
                  </a:cubicBezTo>
                  <a:close/>
                </a:path>
              </a:pathLst>
            </a:custGeom>
            <a:solidFill>
              <a:schemeClr val="tx2"/>
            </a:solidFill>
            <a:ln w="23813"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71C626C-9150-41D4-1603-4C5BA63DB473}"/>
                </a:ext>
              </a:extLst>
            </p:cNvPr>
            <p:cNvSpPr/>
            <p:nvPr/>
          </p:nvSpPr>
          <p:spPr>
            <a:xfrm>
              <a:off x="6891339" y="1290637"/>
              <a:ext cx="326231" cy="238125"/>
            </a:xfrm>
            <a:custGeom>
              <a:avLst/>
              <a:gdLst>
                <a:gd name="connsiteX0" fmla="*/ 278606 w 326231"/>
                <a:gd name="connsiteY0" fmla="*/ 157162 h 238125"/>
                <a:gd name="connsiteX1" fmla="*/ 278606 w 326231"/>
                <a:gd name="connsiteY1" fmla="*/ 161925 h 238125"/>
                <a:gd name="connsiteX2" fmla="*/ 252413 w 326231"/>
                <a:gd name="connsiteY2" fmla="*/ 190500 h 238125"/>
                <a:gd name="connsiteX3" fmla="*/ 73819 w 326231"/>
                <a:gd name="connsiteY3" fmla="*/ 190500 h 238125"/>
                <a:gd name="connsiteX4" fmla="*/ 47625 w 326231"/>
                <a:gd name="connsiteY4" fmla="*/ 161925 h 238125"/>
                <a:gd name="connsiteX5" fmla="*/ 47625 w 326231"/>
                <a:gd name="connsiteY5" fmla="*/ 157162 h 238125"/>
                <a:gd name="connsiteX6" fmla="*/ 2381 w 326231"/>
                <a:gd name="connsiteY6" fmla="*/ 157162 h 238125"/>
                <a:gd name="connsiteX7" fmla="*/ 2381 w 326231"/>
                <a:gd name="connsiteY7" fmla="*/ 161925 h 238125"/>
                <a:gd name="connsiteX8" fmla="*/ 76200 w 326231"/>
                <a:gd name="connsiteY8" fmla="*/ 238125 h 238125"/>
                <a:gd name="connsiteX9" fmla="*/ 252413 w 326231"/>
                <a:gd name="connsiteY9" fmla="*/ 238125 h 238125"/>
                <a:gd name="connsiteX10" fmla="*/ 326231 w 326231"/>
                <a:gd name="connsiteY10" fmla="*/ 161925 h 238125"/>
                <a:gd name="connsiteX11" fmla="*/ 326231 w 326231"/>
                <a:gd name="connsiteY11" fmla="*/ 157162 h 238125"/>
                <a:gd name="connsiteX12" fmla="*/ 278606 w 326231"/>
                <a:gd name="connsiteY12" fmla="*/ 157162 h 238125"/>
                <a:gd name="connsiteX13" fmla="*/ 252413 w 326231"/>
                <a:gd name="connsiteY13" fmla="*/ 0 h 238125"/>
                <a:gd name="connsiteX14" fmla="*/ 73819 w 326231"/>
                <a:gd name="connsiteY14" fmla="*/ 0 h 238125"/>
                <a:gd name="connsiteX15" fmla="*/ 0 w 326231"/>
                <a:gd name="connsiteY15" fmla="*/ 76200 h 238125"/>
                <a:gd name="connsiteX16" fmla="*/ 0 w 326231"/>
                <a:gd name="connsiteY16" fmla="*/ 80962 h 238125"/>
                <a:gd name="connsiteX17" fmla="*/ 45244 w 326231"/>
                <a:gd name="connsiteY17" fmla="*/ 80962 h 238125"/>
                <a:gd name="connsiteX18" fmla="*/ 45244 w 326231"/>
                <a:gd name="connsiteY18" fmla="*/ 76200 h 238125"/>
                <a:gd name="connsiteX19" fmla="*/ 71438 w 326231"/>
                <a:gd name="connsiteY19" fmla="*/ 47625 h 238125"/>
                <a:gd name="connsiteX20" fmla="*/ 252413 w 326231"/>
                <a:gd name="connsiteY20" fmla="*/ 47625 h 238125"/>
                <a:gd name="connsiteX21" fmla="*/ 278606 w 326231"/>
                <a:gd name="connsiteY21" fmla="*/ 76200 h 238125"/>
                <a:gd name="connsiteX22" fmla="*/ 278606 w 326231"/>
                <a:gd name="connsiteY22" fmla="*/ 80962 h 238125"/>
                <a:gd name="connsiteX23" fmla="*/ 323850 w 326231"/>
                <a:gd name="connsiteY23" fmla="*/ 80962 h 238125"/>
                <a:gd name="connsiteX24" fmla="*/ 323850 w 326231"/>
                <a:gd name="connsiteY24" fmla="*/ 76200 h 238125"/>
                <a:gd name="connsiteX25" fmla="*/ 252413 w 326231"/>
                <a:gd name="connsiteY25" fmla="*/ 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6231" h="238125">
                  <a:moveTo>
                    <a:pt x="278606" y="157162"/>
                  </a:moveTo>
                  <a:lnTo>
                    <a:pt x="278606" y="161925"/>
                  </a:lnTo>
                  <a:cubicBezTo>
                    <a:pt x="278606" y="176212"/>
                    <a:pt x="266700" y="190500"/>
                    <a:pt x="252413" y="190500"/>
                  </a:cubicBezTo>
                  <a:lnTo>
                    <a:pt x="73819" y="190500"/>
                  </a:lnTo>
                  <a:cubicBezTo>
                    <a:pt x="59531" y="190500"/>
                    <a:pt x="47625" y="178594"/>
                    <a:pt x="47625" y="161925"/>
                  </a:cubicBezTo>
                  <a:lnTo>
                    <a:pt x="47625" y="157162"/>
                  </a:lnTo>
                  <a:lnTo>
                    <a:pt x="2381" y="157162"/>
                  </a:lnTo>
                  <a:lnTo>
                    <a:pt x="2381" y="161925"/>
                  </a:lnTo>
                  <a:cubicBezTo>
                    <a:pt x="2381" y="202406"/>
                    <a:pt x="35719" y="238125"/>
                    <a:pt x="76200" y="238125"/>
                  </a:cubicBezTo>
                  <a:lnTo>
                    <a:pt x="252413" y="238125"/>
                  </a:lnTo>
                  <a:cubicBezTo>
                    <a:pt x="292894" y="238125"/>
                    <a:pt x="326231" y="204787"/>
                    <a:pt x="326231" y="161925"/>
                  </a:cubicBezTo>
                  <a:lnTo>
                    <a:pt x="326231" y="157162"/>
                  </a:lnTo>
                  <a:lnTo>
                    <a:pt x="278606" y="157162"/>
                  </a:lnTo>
                  <a:close/>
                  <a:moveTo>
                    <a:pt x="252413" y="0"/>
                  </a:moveTo>
                  <a:lnTo>
                    <a:pt x="73819" y="0"/>
                  </a:lnTo>
                  <a:cubicBezTo>
                    <a:pt x="33337" y="0"/>
                    <a:pt x="0" y="33337"/>
                    <a:pt x="0" y="76200"/>
                  </a:cubicBezTo>
                  <a:lnTo>
                    <a:pt x="0" y="80962"/>
                  </a:lnTo>
                  <a:lnTo>
                    <a:pt x="45244" y="80962"/>
                  </a:lnTo>
                  <a:lnTo>
                    <a:pt x="45244" y="76200"/>
                  </a:lnTo>
                  <a:cubicBezTo>
                    <a:pt x="45244" y="61912"/>
                    <a:pt x="57150" y="47625"/>
                    <a:pt x="71438" y="47625"/>
                  </a:cubicBezTo>
                  <a:lnTo>
                    <a:pt x="252413" y="47625"/>
                  </a:lnTo>
                  <a:cubicBezTo>
                    <a:pt x="266700" y="47625"/>
                    <a:pt x="278606" y="59531"/>
                    <a:pt x="278606" y="76200"/>
                  </a:cubicBezTo>
                  <a:lnTo>
                    <a:pt x="278606" y="80962"/>
                  </a:lnTo>
                  <a:lnTo>
                    <a:pt x="323850" y="80962"/>
                  </a:lnTo>
                  <a:lnTo>
                    <a:pt x="323850" y="76200"/>
                  </a:lnTo>
                  <a:cubicBezTo>
                    <a:pt x="323850" y="33337"/>
                    <a:pt x="292894" y="0"/>
                    <a:pt x="252413" y="0"/>
                  </a:cubicBezTo>
                  <a:close/>
                </a:path>
              </a:pathLst>
            </a:custGeom>
            <a:solidFill>
              <a:schemeClr val="tx2"/>
            </a:solidFill>
            <a:ln w="23813"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E7A39005-60B3-1CC5-F44A-694521C8C245}"/>
                </a:ext>
              </a:extLst>
            </p:cNvPr>
            <p:cNvSpPr/>
            <p:nvPr/>
          </p:nvSpPr>
          <p:spPr>
            <a:xfrm rot="21544613">
              <a:off x="6753245" y="1383544"/>
              <a:ext cx="207174" cy="47626"/>
            </a:xfrm>
            <a:custGeom>
              <a:avLst/>
              <a:gdLst>
                <a:gd name="connsiteX0" fmla="*/ 0 w 207174"/>
                <a:gd name="connsiteY0" fmla="*/ 0 h 47626"/>
                <a:gd name="connsiteX1" fmla="*/ 207175 w 207174"/>
                <a:gd name="connsiteY1" fmla="*/ 0 h 47626"/>
                <a:gd name="connsiteX2" fmla="*/ 207175 w 207174"/>
                <a:gd name="connsiteY2" fmla="*/ 47626 h 47626"/>
                <a:gd name="connsiteX3" fmla="*/ 0 w 207174"/>
                <a:gd name="connsiteY3" fmla="*/ 47626 h 47626"/>
              </a:gdLst>
              <a:ahLst/>
              <a:cxnLst>
                <a:cxn ang="0">
                  <a:pos x="connsiteX0" y="connsiteY0"/>
                </a:cxn>
                <a:cxn ang="0">
                  <a:pos x="connsiteX1" y="connsiteY1"/>
                </a:cxn>
                <a:cxn ang="0">
                  <a:pos x="connsiteX2" y="connsiteY2"/>
                </a:cxn>
                <a:cxn ang="0">
                  <a:pos x="connsiteX3" y="connsiteY3"/>
                </a:cxn>
              </a:cxnLst>
              <a:rect l="l" t="t" r="r" b="b"/>
              <a:pathLst>
                <a:path w="207174" h="47626">
                  <a:moveTo>
                    <a:pt x="0" y="0"/>
                  </a:moveTo>
                  <a:lnTo>
                    <a:pt x="207175" y="0"/>
                  </a:lnTo>
                  <a:lnTo>
                    <a:pt x="207175" y="47626"/>
                  </a:lnTo>
                  <a:lnTo>
                    <a:pt x="0" y="47626"/>
                  </a:lnTo>
                  <a:close/>
                </a:path>
              </a:pathLst>
            </a:custGeom>
            <a:solidFill>
              <a:schemeClr val="tx2"/>
            </a:solidFill>
            <a:ln w="23814"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5E5FDE84-26B0-3D3F-F544-FDA428F96EA9}"/>
                </a:ext>
              </a:extLst>
            </p:cNvPr>
            <p:cNvSpPr/>
            <p:nvPr/>
          </p:nvSpPr>
          <p:spPr>
            <a:xfrm>
              <a:off x="6477002" y="1381125"/>
              <a:ext cx="92868" cy="47625"/>
            </a:xfrm>
            <a:custGeom>
              <a:avLst/>
              <a:gdLst>
                <a:gd name="connsiteX0" fmla="*/ 0 w 92868"/>
                <a:gd name="connsiteY0" fmla="*/ 0 h 47625"/>
                <a:gd name="connsiteX1" fmla="*/ 92869 w 92868"/>
                <a:gd name="connsiteY1" fmla="*/ 0 h 47625"/>
                <a:gd name="connsiteX2" fmla="*/ 92869 w 92868"/>
                <a:gd name="connsiteY2" fmla="*/ 47625 h 47625"/>
                <a:gd name="connsiteX3" fmla="*/ 0 w 92868"/>
                <a:gd name="connsiteY3" fmla="*/ 47625 h 47625"/>
              </a:gdLst>
              <a:ahLst/>
              <a:cxnLst>
                <a:cxn ang="0">
                  <a:pos x="connsiteX0" y="connsiteY0"/>
                </a:cxn>
                <a:cxn ang="0">
                  <a:pos x="connsiteX1" y="connsiteY1"/>
                </a:cxn>
                <a:cxn ang="0">
                  <a:pos x="connsiteX2" y="connsiteY2"/>
                </a:cxn>
                <a:cxn ang="0">
                  <a:pos x="connsiteX3" y="connsiteY3"/>
                </a:cxn>
              </a:cxnLst>
              <a:rect l="l" t="t" r="r" b="b"/>
              <a:pathLst>
                <a:path w="92868" h="47625">
                  <a:moveTo>
                    <a:pt x="0" y="0"/>
                  </a:moveTo>
                  <a:lnTo>
                    <a:pt x="92869" y="0"/>
                  </a:lnTo>
                  <a:lnTo>
                    <a:pt x="92869" y="47625"/>
                  </a:lnTo>
                  <a:lnTo>
                    <a:pt x="0" y="47625"/>
                  </a:lnTo>
                  <a:close/>
                </a:path>
              </a:pathLst>
            </a:custGeom>
            <a:solidFill>
              <a:schemeClr val="tx2"/>
            </a:solidFill>
            <a:ln w="238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FAF22BE-7853-83E2-A7F6-9F7AD8EF4618}"/>
                </a:ext>
              </a:extLst>
            </p:cNvPr>
            <p:cNvSpPr/>
            <p:nvPr/>
          </p:nvSpPr>
          <p:spPr>
            <a:xfrm>
              <a:off x="7146133" y="1381125"/>
              <a:ext cx="92868" cy="47625"/>
            </a:xfrm>
            <a:custGeom>
              <a:avLst/>
              <a:gdLst>
                <a:gd name="connsiteX0" fmla="*/ 0 w 92868"/>
                <a:gd name="connsiteY0" fmla="*/ 0 h 47625"/>
                <a:gd name="connsiteX1" fmla="*/ 92869 w 92868"/>
                <a:gd name="connsiteY1" fmla="*/ 0 h 47625"/>
                <a:gd name="connsiteX2" fmla="*/ 92869 w 92868"/>
                <a:gd name="connsiteY2" fmla="*/ 47625 h 47625"/>
                <a:gd name="connsiteX3" fmla="*/ 0 w 92868"/>
                <a:gd name="connsiteY3" fmla="*/ 47625 h 47625"/>
              </a:gdLst>
              <a:ahLst/>
              <a:cxnLst>
                <a:cxn ang="0">
                  <a:pos x="connsiteX0" y="connsiteY0"/>
                </a:cxn>
                <a:cxn ang="0">
                  <a:pos x="connsiteX1" y="connsiteY1"/>
                </a:cxn>
                <a:cxn ang="0">
                  <a:pos x="connsiteX2" y="connsiteY2"/>
                </a:cxn>
                <a:cxn ang="0">
                  <a:pos x="connsiteX3" y="connsiteY3"/>
                </a:cxn>
              </a:cxnLst>
              <a:rect l="l" t="t" r="r" b="b"/>
              <a:pathLst>
                <a:path w="92868" h="47625">
                  <a:moveTo>
                    <a:pt x="0" y="0"/>
                  </a:moveTo>
                  <a:lnTo>
                    <a:pt x="92869" y="0"/>
                  </a:lnTo>
                  <a:lnTo>
                    <a:pt x="92869" y="47625"/>
                  </a:lnTo>
                  <a:lnTo>
                    <a:pt x="0" y="47625"/>
                  </a:lnTo>
                  <a:close/>
                </a:path>
              </a:pathLst>
            </a:custGeom>
            <a:solidFill>
              <a:schemeClr val="tx2"/>
            </a:solidFill>
            <a:ln w="238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A49B07BF-0056-2EB5-7794-30BC962EC111}"/>
                </a:ext>
              </a:extLst>
            </p:cNvPr>
            <p:cNvSpPr/>
            <p:nvPr/>
          </p:nvSpPr>
          <p:spPr>
            <a:xfrm>
              <a:off x="6643689" y="762000"/>
              <a:ext cx="423862" cy="428625"/>
            </a:xfrm>
            <a:custGeom>
              <a:avLst/>
              <a:gdLst>
                <a:gd name="connsiteX0" fmla="*/ 261938 w 423862"/>
                <a:gd name="connsiteY0" fmla="*/ 428625 h 428625"/>
                <a:gd name="connsiteX1" fmla="*/ 157163 w 423862"/>
                <a:gd name="connsiteY1" fmla="*/ 428625 h 428625"/>
                <a:gd name="connsiteX2" fmla="*/ 133350 w 423862"/>
                <a:gd name="connsiteY2" fmla="*/ 354806 h 428625"/>
                <a:gd name="connsiteX3" fmla="*/ 126206 w 423862"/>
                <a:gd name="connsiteY3" fmla="*/ 350044 h 428625"/>
                <a:gd name="connsiteX4" fmla="*/ 50006 w 423862"/>
                <a:gd name="connsiteY4" fmla="*/ 364331 h 428625"/>
                <a:gd name="connsiteX5" fmla="*/ 0 w 423862"/>
                <a:gd name="connsiteY5" fmla="*/ 276225 h 428625"/>
                <a:gd name="connsiteX6" fmla="*/ 52387 w 423862"/>
                <a:gd name="connsiteY6" fmla="*/ 219075 h 428625"/>
                <a:gd name="connsiteX7" fmla="*/ 52387 w 423862"/>
                <a:gd name="connsiteY7" fmla="*/ 214313 h 428625"/>
                <a:gd name="connsiteX8" fmla="*/ 52387 w 423862"/>
                <a:gd name="connsiteY8" fmla="*/ 209550 h 428625"/>
                <a:gd name="connsiteX9" fmla="*/ 0 w 423862"/>
                <a:gd name="connsiteY9" fmla="*/ 152400 h 428625"/>
                <a:gd name="connsiteX10" fmla="*/ 52387 w 423862"/>
                <a:gd name="connsiteY10" fmla="*/ 61912 h 428625"/>
                <a:gd name="connsiteX11" fmla="*/ 128587 w 423862"/>
                <a:gd name="connsiteY11" fmla="*/ 78581 h 428625"/>
                <a:gd name="connsiteX12" fmla="*/ 135731 w 423862"/>
                <a:gd name="connsiteY12" fmla="*/ 73819 h 428625"/>
                <a:gd name="connsiteX13" fmla="*/ 159544 w 423862"/>
                <a:gd name="connsiteY13" fmla="*/ 0 h 428625"/>
                <a:gd name="connsiteX14" fmla="*/ 264319 w 423862"/>
                <a:gd name="connsiteY14" fmla="*/ 0 h 428625"/>
                <a:gd name="connsiteX15" fmla="*/ 288131 w 423862"/>
                <a:gd name="connsiteY15" fmla="*/ 73819 h 428625"/>
                <a:gd name="connsiteX16" fmla="*/ 295275 w 423862"/>
                <a:gd name="connsiteY16" fmla="*/ 78581 h 428625"/>
                <a:gd name="connsiteX17" fmla="*/ 371475 w 423862"/>
                <a:gd name="connsiteY17" fmla="*/ 64294 h 428625"/>
                <a:gd name="connsiteX18" fmla="*/ 423862 w 423862"/>
                <a:gd name="connsiteY18" fmla="*/ 154781 h 428625"/>
                <a:gd name="connsiteX19" fmla="*/ 371475 w 423862"/>
                <a:gd name="connsiteY19" fmla="*/ 211931 h 428625"/>
                <a:gd name="connsiteX20" fmla="*/ 371475 w 423862"/>
                <a:gd name="connsiteY20" fmla="*/ 216694 h 428625"/>
                <a:gd name="connsiteX21" fmla="*/ 371475 w 423862"/>
                <a:gd name="connsiteY21" fmla="*/ 216694 h 428625"/>
                <a:gd name="connsiteX22" fmla="*/ 371475 w 423862"/>
                <a:gd name="connsiteY22" fmla="*/ 221456 h 428625"/>
                <a:gd name="connsiteX23" fmla="*/ 421481 w 423862"/>
                <a:gd name="connsiteY23" fmla="*/ 278606 h 428625"/>
                <a:gd name="connsiteX24" fmla="*/ 369094 w 423862"/>
                <a:gd name="connsiteY24" fmla="*/ 369094 h 428625"/>
                <a:gd name="connsiteX25" fmla="*/ 292894 w 423862"/>
                <a:gd name="connsiteY25" fmla="*/ 352425 h 428625"/>
                <a:gd name="connsiteX26" fmla="*/ 285750 w 423862"/>
                <a:gd name="connsiteY26" fmla="*/ 357188 h 428625"/>
                <a:gd name="connsiteX27" fmla="*/ 261938 w 423862"/>
                <a:gd name="connsiteY27" fmla="*/ 428625 h 428625"/>
                <a:gd name="connsiteX28" fmla="*/ 261938 w 423862"/>
                <a:gd name="connsiteY28" fmla="*/ 428625 h 428625"/>
                <a:gd name="connsiteX29" fmla="*/ 261938 w 423862"/>
                <a:gd name="connsiteY29" fmla="*/ 428625 h 428625"/>
                <a:gd name="connsiteX30" fmla="*/ 190500 w 423862"/>
                <a:gd name="connsiteY30" fmla="*/ 383381 h 428625"/>
                <a:gd name="connsiteX31" fmla="*/ 228600 w 423862"/>
                <a:gd name="connsiteY31" fmla="*/ 383381 h 428625"/>
                <a:gd name="connsiteX32" fmla="*/ 250031 w 423862"/>
                <a:gd name="connsiteY32" fmla="*/ 323850 h 428625"/>
                <a:gd name="connsiteX33" fmla="*/ 259556 w 423862"/>
                <a:gd name="connsiteY33" fmla="*/ 319088 h 428625"/>
                <a:gd name="connsiteX34" fmla="*/ 276225 w 423862"/>
                <a:gd name="connsiteY34" fmla="*/ 309563 h 428625"/>
                <a:gd name="connsiteX35" fmla="*/ 283369 w 423862"/>
                <a:gd name="connsiteY35" fmla="*/ 304800 h 428625"/>
                <a:gd name="connsiteX36" fmla="*/ 345281 w 423862"/>
                <a:gd name="connsiteY36" fmla="*/ 316706 h 428625"/>
                <a:gd name="connsiteX37" fmla="*/ 364331 w 423862"/>
                <a:gd name="connsiteY37" fmla="*/ 283369 h 428625"/>
                <a:gd name="connsiteX38" fmla="*/ 321469 w 423862"/>
                <a:gd name="connsiteY38" fmla="*/ 235744 h 428625"/>
                <a:gd name="connsiteX39" fmla="*/ 321469 w 423862"/>
                <a:gd name="connsiteY39" fmla="*/ 226219 h 428625"/>
                <a:gd name="connsiteX40" fmla="*/ 321469 w 423862"/>
                <a:gd name="connsiteY40" fmla="*/ 216694 h 428625"/>
                <a:gd name="connsiteX41" fmla="*/ 321469 w 423862"/>
                <a:gd name="connsiteY41" fmla="*/ 207169 h 428625"/>
                <a:gd name="connsiteX42" fmla="*/ 321469 w 423862"/>
                <a:gd name="connsiteY42" fmla="*/ 197644 h 428625"/>
                <a:gd name="connsiteX43" fmla="*/ 364331 w 423862"/>
                <a:gd name="connsiteY43" fmla="*/ 150019 h 428625"/>
                <a:gd name="connsiteX44" fmla="*/ 345281 w 423862"/>
                <a:gd name="connsiteY44" fmla="*/ 116681 h 428625"/>
                <a:gd name="connsiteX45" fmla="*/ 285750 w 423862"/>
                <a:gd name="connsiteY45" fmla="*/ 126206 h 428625"/>
                <a:gd name="connsiteX46" fmla="*/ 278606 w 423862"/>
                <a:gd name="connsiteY46" fmla="*/ 121444 h 428625"/>
                <a:gd name="connsiteX47" fmla="*/ 261938 w 423862"/>
                <a:gd name="connsiteY47" fmla="*/ 111919 h 428625"/>
                <a:gd name="connsiteX48" fmla="*/ 252413 w 423862"/>
                <a:gd name="connsiteY48" fmla="*/ 107156 h 428625"/>
                <a:gd name="connsiteX49" fmla="*/ 233362 w 423862"/>
                <a:gd name="connsiteY49" fmla="*/ 47625 h 428625"/>
                <a:gd name="connsiteX50" fmla="*/ 195263 w 423862"/>
                <a:gd name="connsiteY50" fmla="*/ 47625 h 428625"/>
                <a:gd name="connsiteX51" fmla="*/ 173831 w 423862"/>
                <a:gd name="connsiteY51" fmla="*/ 107156 h 428625"/>
                <a:gd name="connsiteX52" fmla="*/ 164306 w 423862"/>
                <a:gd name="connsiteY52" fmla="*/ 111919 h 428625"/>
                <a:gd name="connsiteX53" fmla="*/ 147638 w 423862"/>
                <a:gd name="connsiteY53" fmla="*/ 121444 h 428625"/>
                <a:gd name="connsiteX54" fmla="*/ 140494 w 423862"/>
                <a:gd name="connsiteY54" fmla="*/ 126206 h 428625"/>
                <a:gd name="connsiteX55" fmla="*/ 78581 w 423862"/>
                <a:gd name="connsiteY55" fmla="*/ 114300 h 428625"/>
                <a:gd name="connsiteX56" fmla="*/ 54769 w 423862"/>
                <a:gd name="connsiteY56" fmla="*/ 147638 h 428625"/>
                <a:gd name="connsiteX57" fmla="*/ 97631 w 423862"/>
                <a:gd name="connsiteY57" fmla="*/ 195263 h 428625"/>
                <a:gd name="connsiteX58" fmla="*/ 97631 w 423862"/>
                <a:gd name="connsiteY58" fmla="*/ 204788 h 428625"/>
                <a:gd name="connsiteX59" fmla="*/ 97631 w 423862"/>
                <a:gd name="connsiteY59" fmla="*/ 214313 h 428625"/>
                <a:gd name="connsiteX60" fmla="*/ 97631 w 423862"/>
                <a:gd name="connsiteY60" fmla="*/ 223837 h 428625"/>
                <a:gd name="connsiteX61" fmla="*/ 97631 w 423862"/>
                <a:gd name="connsiteY61" fmla="*/ 233363 h 428625"/>
                <a:gd name="connsiteX62" fmla="*/ 54769 w 423862"/>
                <a:gd name="connsiteY62" fmla="*/ 280988 h 428625"/>
                <a:gd name="connsiteX63" fmla="*/ 73819 w 423862"/>
                <a:gd name="connsiteY63" fmla="*/ 314325 h 428625"/>
                <a:gd name="connsiteX64" fmla="*/ 135731 w 423862"/>
                <a:gd name="connsiteY64" fmla="*/ 302419 h 428625"/>
                <a:gd name="connsiteX65" fmla="*/ 142875 w 423862"/>
                <a:gd name="connsiteY65" fmla="*/ 307181 h 428625"/>
                <a:gd name="connsiteX66" fmla="*/ 159544 w 423862"/>
                <a:gd name="connsiteY66" fmla="*/ 316706 h 428625"/>
                <a:gd name="connsiteX67" fmla="*/ 169069 w 423862"/>
                <a:gd name="connsiteY67" fmla="*/ 321469 h 428625"/>
                <a:gd name="connsiteX68" fmla="*/ 190500 w 423862"/>
                <a:gd name="connsiteY68" fmla="*/ 383381 h 428625"/>
                <a:gd name="connsiteX69" fmla="*/ 190500 w 423862"/>
                <a:gd name="connsiteY69" fmla="*/ 383381 h 428625"/>
                <a:gd name="connsiteX70" fmla="*/ 190500 w 423862"/>
                <a:gd name="connsiteY70" fmla="*/ 38338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23862" h="428625">
                  <a:moveTo>
                    <a:pt x="261938" y="428625"/>
                  </a:moveTo>
                  <a:lnTo>
                    <a:pt x="157163" y="428625"/>
                  </a:lnTo>
                  <a:lnTo>
                    <a:pt x="133350" y="354806"/>
                  </a:lnTo>
                  <a:cubicBezTo>
                    <a:pt x="130969" y="352425"/>
                    <a:pt x="128587" y="352425"/>
                    <a:pt x="126206" y="350044"/>
                  </a:cubicBezTo>
                  <a:lnTo>
                    <a:pt x="50006" y="364331"/>
                  </a:lnTo>
                  <a:lnTo>
                    <a:pt x="0" y="276225"/>
                  </a:lnTo>
                  <a:lnTo>
                    <a:pt x="52387" y="219075"/>
                  </a:lnTo>
                  <a:cubicBezTo>
                    <a:pt x="52387" y="216694"/>
                    <a:pt x="52387" y="216694"/>
                    <a:pt x="52387" y="214313"/>
                  </a:cubicBezTo>
                  <a:cubicBezTo>
                    <a:pt x="52387" y="211931"/>
                    <a:pt x="52387" y="211931"/>
                    <a:pt x="52387" y="209550"/>
                  </a:cubicBezTo>
                  <a:lnTo>
                    <a:pt x="0" y="152400"/>
                  </a:lnTo>
                  <a:lnTo>
                    <a:pt x="52387" y="61912"/>
                  </a:lnTo>
                  <a:lnTo>
                    <a:pt x="128587" y="78581"/>
                  </a:lnTo>
                  <a:cubicBezTo>
                    <a:pt x="130969" y="76200"/>
                    <a:pt x="133350" y="76200"/>
                    <a:pt x="135731" y="73819"/>
                  </a:cubicBezTo>
                  <a:lnTo>
                    <a:pt x="159544" y="0"/>
                  </a:lnTo>
                  <a:lnTo>
                    <a:pt x="264319" y="0"/>
                  </a:lnTo>
                  <a:lnTo>
                    <a:pt x="288131" y="73819"/>
                  </a:lnTo>
                  <a:cubicBezTo>
                    <a:pt x="290513" y="76200"/>
                    <a:pt x="292894" y="76200"/>
                    <a:pt x="295275" y="78581"/>
                  </a:cubicBezTo>
                  <a:lnTo>
                    <a:pt x="371475" y="64294"/>
                  </a:lnTo>
                  <a:lnTo>
                    <a:pt x="423862" y="154781"/>
                  </a:lnTo>
                  <a:lnTo>
                    <a:pt x="371475" y="211931"/>
                  </a:lnTo>
                  <a:cubicBezTo>
                    <a:pt x="371475" y="214313"/>
                    <a:pt x="371475" y="214313"/>
                    <a:pt x="371475" y="216694"/>
                  </a:cubicBezTo>
                  <a:lnTo>
                    <a:pt x="371475" y="216694"/>
                  </a:lnTo>
                  <a:cubicBezTo>
                    <a:pt x="371475" y="219075"/>
                    <a:pt x="371475" y="219075"/>
                    <a:pt x="371475" y="221456"/>
                  </a:cubicBezTo>
                  <a:lnTo>
                    <a:pt x="421481" y="278606"/>
                  </a:lnTo>
                  <a:lnTo>
                    <a:pt x="369094" y="369094"/>
                  </a:lnTo>
                  <a:lnTo>
                    <a:pt x="292894" y="352425"/>
                  </a:lnTo>
                  <a:cubicBezTo>
                    <a:pt x="290513" y="354806"/>
                    <a:pt x="288131" y="354806"/>
                    <a:pt x="285750" y="357188"/>
                  </a:cubicBezTo>
                  <a:lnTo>
                    <a:pt x="261938" y="428625"/>
                  </a:lnTo>
                  <a:lnTo>
                    <a:pt x="261938" y="428625"/>
                  </a:lnTo>
                  <a:lnTo>
                    <a:pt x="261938" y="428625"/>
                  </a:lnTo>
                  <a:close/>
                  <a:moveTo>
                    <a:pt x="190500" y="383381"/>
                  </a:moveTo>
                  <a:lnTo>
                    <a:pt x="228600" y="383381"/>
                  </a:lnTo>
                  <a:lnTo>
                    <a:pt x="250031" y="323850"/>
                  </a:lnTo>
                  <a:lnTo>
                    <a:pt x="259556" y="319088"/>
                  </a:lnTo>
                  <a:cubicBezTo>
                    <a:pt x="266700" y="316706"/>
                    <a:pt x="271463" y="311944"/>
                    <a:pt x="276225" y="309563"/>
                  </a:cubicBezTo>
                  <a:lnTo>
                    <a:pt x="283369" y="304800"/>
                  </a:lnTo>
                  <a:lnTo>
                    <a:pt x="345281" y="316706"/>
                  </a:lnTo>
                  <a:lnTo>
                    <a:pt x="364331" y="283369"/>
                  </a:lnTo>
                  <a:lnTo>
                    <a:pt x="321469" y="235744"/>
                  </a:lnTo>
                  <a:lnTo>
                    <a:pt x="321469" y="226219"/>
                  </a:lnTo>
                  <a:cubicBezTo>
                    <a:pt x="321469" y="223837"/>
                    <a:pt x="321469" y="219075"/>
                    <a:pt x="321469" y="216694"/>
                  </a:cubicBezTo>
                  <a:cubicBezTo>
                    <a:pt x="321469" y="214313"/>
                    <a:pt x="321469" y="209550"/>
                    <a:pt x="321469" y="207169"/>
                  </a:cubicBezTo>
                  <a:lnTo>
                    <a:pt x="321469" y="197644"/>
                  </a:lnTo>
                  <a:lnTo>
                    <a:pt x="364331" y="150019"/>
                  </a:lnTo>
                  <a:lnTo>
                    <a:pt x="345281" y="116681"/>
                  </a:lnTo>
                  <a:lnTo>
                    <a:pt x="285750" y="126206"/>
                  </a:lnTo>
                  <a:lnTo>
                    <a:pt x="278606" y="121444"/>
                  </a:lnTo>
                  <a:cubicBezTo>
                    <a:pt x="273844" y="116681"/>
                    <a:pt x="266700" y="114300"/>
                    <a:pt x="261938" y="111919"/>
                  </a:cubicBezTo>
                  <a:lnTo>
                    <a:pt x="252413" y="107156"/>
                  </a:lnTo>
                  <a:lnTo>
                    <a:pt x="233362" y="47625"/>
                  </a:lnTo>
                  <a:lnTo>
                    <a:pt x="195263" y="47625"/>
                  </a:lnTo>
                  <a:lnTo>
                    <a:pt x="173831" y="107156"/>
                  </a:lnTo>
                  <a:lnTo>
                    <a:pt x="164306" y="111919"/>
                  </a:lnTo>
                  <a:cubicBezTo>
                    <a:pt x="157163" y="114300"/>
                    <a:pt x="152400" y="119063"/>
                    <a:pt x="147638" y="121444"/>
                  </a:cubicBezTo>
                  <a:lnTo>
                    <a:pt x="140494" y="126206"/>
                  </a:lnTo>
                  <a:lnTo>
                    <a:pt x="78581" y="114300"/>
                  </a:lnTo>
                  <a:lnTo>
                    <a:pt x="54769" y="147638"/>
                  </a:lnTo>
                  <a:lnTo>
                    <a:pt x="97631" y="195263"/>
                  </a:lnTo>
                  <a:lnTo>
                    <a:pt x="97631" y="204788"/>
                  </a:lnTo>
                  <a:cubicBezTo>
                    <a:pt x="97631" y="207169"/>
                    <a:pt x="97631" y="211931"/>
                    <a:pt x="97631" y="214313"/>
                  </a:cubicBezTo>
                  <a:cubicBezTo>
                    <a:pt x="97631" y="216694"/>
                    <a:pt x="97631" y="221456"/>
                    <a:pt x="97631" y="223837"/>
                  </a:cubicBezTo>
                  <a:lnTo>
                    <a:pt x="97631" y="233363"/>
                  </a:lnTo>
                  <a:lnTo>
                    <a:pt x="54769" y="280988"/>
                  </a:lnTo>
                  <a:lnTo>
                    <a:pt x="73819" y="314325"/>
                  </a:lnTo>
                  <a:lnTo>
                    <a:pt x="135731" y="302419"/>
                  </a:lnTo>
                  <a:lnTo>
                    <a:pt x="142875" y="307181"/>
                  </a:lnTo>
                  <a:cubicBezTo>
                    <a:pt x="147638" y="311944"/>
                    <a:pt x="154781" y="314325"/>
                    <a:pt x="159544" y="316706"/>
                  </a:cubicBezTo>
                  <a:lnTo>
                    <a:pt x="169069" y="321469"/>
                  </a:lnTo>
                  <a:lnTo>
                    <a:pt x="190500" y="383381"/>
                  </a:lnTo>
                  <a:lnTo>
                    <a:pt x="190500" y="383381"/>
                  </a:lnTo>
                  <a:lnTo>
                    <a:pt x="190500" y="383381"/>
                  </a:lnTo>
                  <a:close/>
                </a:path>
              </a:pathLst>
            </a:custGeom>
            <a:solidFill>
              <a:schemeClr val="tx2"/>
            </a:solidFill>
            <a:ln w="238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EE11DD1-7599-64FC-A312-9F5CD6735A14}"/>
                </a:ext>
              </a:extLst>
            </p:cNvPr>
            <p:cNvSpPr/>
            <p:nvPr/>
          </p:nvSpPr>
          <p:spPr>
            <a:xfrm>
              <a:off x="6779420" y="900112"/>
              <a:ext cx="154781" cy="154781"/>
            </a:xfrm>
            <a:custGeom>
              <a:avLst/>
              <a:gdLst>
                <a:gd name="connsiteX0" fmla="*/ 76200 w 154781"/>
                <a:gd name="connsiteY0" fmla="*/ 154781 h 154781"/>
                <a:gd name="connsiteX1" fmla="*/ 0 w 154781"/>
                <a:gd name="connsiteY1" fmla="*/ 78581 h 154781"/>
                <a:gd name="connsiteX2" fmla="*/ 21431 w 154781"/>
                <a:gd name="connsiteY2" fmla="*/ 23813 h 154781"/>
                <a:gd name="connsiteX3" fmla="*/ 76200 w 154781"/>
                <a:gd name="connsiteY3" fmla="*/ 0 h 154781"/>
                <a:gd name="connsiteX4" fmla="*/ 130969 w 154781"/>
                <a:gd name="connsiteY4" fmla="*/ 21431 h 154781"/>
                <a:gd name="connsiteX5" fmla="*/ 154781 w 154781"/>
                <a:gd name="connsiteY5" fmla="*/ 76200 h 154781"/>
                <a:gd name="connsiteX6" fmla="*/ 154781 w 154781"/>
                <a:gd name="connsiteY6" fmla="*/ 76200 h 154781"/>
                <a:gd name="connsiteX7" fmla="*/ 76200 w 154781"/>
                <a:gd name="connsiteY7" fmla="*/ 154781 h 154781"/>
                <a:gd name="connsiteX8" fmla="*/ 76200 w 154781"/>
                <a:gd name="connsiteY8" fmla="*/ 154781 h 154781"/>
                <a:gd name="connsiteX9" fmla="*/ 76200 w 154781"/>
                <a:gd name="connsiteY9" fmla="*/ 47625 h 154781"/>
                <a:gd name="connsiteX10" fmla="*/ 76200 w 154781"/>
                <a:gd name="connsiteY10" fmla="*/ 47625 h 154781"/>
                <a:gd name="connsiteX11" fmla="*/ 54769 w 154781"/>
                <a:gd name="connsiteY11" fmla="*/ 57150 h 154781"/>
                <a:gd name="connsiteX12" fmla="*/ 47625 w 154781"/>
                <a:gd name="connsiteY12" fmla="*/ 78581 h 154781"/>
                <a:gd name="connsiteX13" fmla="*/ 78581 w 154781"/>
                <a:gd name="connsiteY13" fmla="*/ 107156 h 154781"/>
                <a:gd name="connsiteX14" fmla="*/ 107156 w 154781"/>
                <a:gd name="connsiteY14" fmla="*/ 76200 h 154781"/>
                <a:gd name="connsiteX15" fmla="*/ 107156 w 154781"/>
                <a:gd name="connsiteY15" fmla="*/ 76200 h 154781"/>
                <a:gd name="connsiteX16" fmla="*/ 97631 w 154781"/>
                <a:gd name="connsiteY16" fmla="*/ 54769 h 154781"/>
                <a:gd name="connsiteX17" fmla="*/ 76200 w 154781"/>
                <a:gd name="connsiteY17" fmla="*/ 47625 h 15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781" h="154781">
                  <a:moveTo>
                    <a:pt x="76200" y="154781"/>
                  </a:moveTo>
                  <a:cubicBezTo>
                    <a:pt x="33338" y="154781"/>
                    <a:pt x="0" y="121444"/>
                    <a:pt x="0" y="78581"/>
                  </a:cubicBezTo>
                  <a:cubicBezTo>
                    <a:pt x="0" y="57150"/>
                    <a:pt x="7144" y="38100"/>
                    <a:pt x="21431" y="23813"/>
                  </a:cubicBezTo>
                  <a:cubicBezTo>
                    <a:pt x="35719" y="9525"/>
                    <a:pt x="54769" y="0"/>
                    <a:pt x="76200" y="0"/>
                  </a:cubicBezTo>
                  <a:cubicBezTo>
                    <a:pt x="97631" y="0"/>
                    <a:pt x="116681" y="7144"/>
                    <a:pt x="130969" y="21431"/>
                  </a:cubicBezTo>
                  <a:cubicBezTo>
                    <a:pt x="145256" y="35719"/>
                    <a:pt x="154781" y="54769"/>
                    <a:pt x="154781" y="76200"/>
                  </a:cubicBezTo>
                  <a:lnTo>
                    <a:pt x="154781" y="76200"/>
                  </a:lnTo>
                  <a:cubicBezTo>
                    <a:pt x="154781" y="116681"/>
                    <a:pt x="121444" y="152400"/>
                    <a:pt x="76200" y="154781"/>
                  </a:cubicBezTo>
                  <a:cubicBezTo>
                    <a:pt x="76200" y="154781"/>
                    <a:pt x="76200" y="154781"/>
                    <a:pt x="76200" y="154781"/>
                  </a:cubicBezTo>
                  <a:close/>
                  <a:moveTo>
                    <a:pt x="76200" y="47625"/>
                  </a:moveTo>
                  <a:cubicBezTo>
                    <a:pt x="76200" y="47625"/>
                    <a:pt x="76200" y="47625"/>
                    <a:pt x="76200" y="47625"/>
                  </a:cubicBezTo>
                  <a:cubicBezTo>
                    <a:pt x="66675" y="47625"/>
                    <a:pt x="59531" y="50006"/>
                    <a:pt x="54769" y="57150"/>
                  </a:cubicBezTo>
                  <a:cubicBezTo>
                    <a:pt x="50006" y="61912"/>
                    <a:pt x="45244" y="71438"/>
                    <a:pt x="47625" y="78581"/>
                  </a:cubicBezTo>
                  <a:cubicBezTo>
                    <a:pt x="47625" y="95250"/>
                    <a:pt x="61913" y="107156"/>
                    <a:pt x="78581" y="107156"/>
                  </a:cubicBezTo>
                  <a:cubicBezTo>
                    <a:pt x="95250" y="107156"/>
                    <a:pt x="107156" y="92869"/>
                    <a:pt x="107156" y="76200"/>
                  </a:cubicBezTo>
                  <a:lnTo>
                    <a:pt x="107156" y="76200"/>
                  </a:lnTo>
                  <a:cubicBezTo>
                    <a:pt x="107156" y="69056"/>
                    <a:pt x="104775" y="61912"/>
                    <a:pt x="97631" y="54769"/>
                  </a:cubicBezTo>
                  <a:cubicBezTo>
                    <a:pt x="90488" y="50006"/>
                    <a:pt x="83344" y="47625"/>
                    <a:pt x="76200" y="47625"/>
                  </a:cubicBezTo>
                  <a:close/>
                </a:path>
              </a:pathLst>
            </a:custGeom>
            <a:solidFill>
              <a:schemeClr val="tx2"/>
            </a:solidFill>
            <a:ln w="238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2029D6C-91F6-2BA2-F4D2-F6290C37E72B}"/>
                </a:ext>
              </a:extLst>
            </p:cNvPr>
            <p:cNvSpPr/>
            <p:nvPr/>
          </p:nvSpPr>
          <p:spPr>
            <a:xfrm rot="18411438">
              <a:off x="6596052" y="1190608"/>
              <a:ext cx="119057" cy="47623"/>
            </a:xfrm>
            <a:custGeom>
              <a:avLst/>
              <a:gdLst>
                <a:gd name="connsiteX0" fmla="*/ 0 w 119057"/>
                <a:gd name="connsiteY0" fmla="*/ 0 h 47623"/>
                <a:gd name="connsiteX1" fmla="*/ 119058 w 119057"/>
                <a:gd name="connsiteY1" fmla="*/ 0 h 47623"/>
                <a:gd name="connsiteX2" fmla="*/ 119058 w 119057"/>
                <a:gd name="connsiteY2" fmla="*/ 47623 h 47623"/>
                <a:gd name="connsiteX3" fmla="*/ 0 w 119057"/>
                <a:gd name="connsiteY3" fmla="*/ 47623 h 47623"/>
              </a:gdLst>
              <a:ahLst/>
              <a:cxnLst>
                <a:cxn ang="0">
                  <a:pos x="connsiteX0" y="connsiteY0"/>
                </a:cxn>
                <a:cxn ang="0">
                  <a:pos x="connsiteX1" y="connsiteY1"/>
                </a:cxn>
                <a:cxn ang="0">
                  <a:pos x="connsiteX2" y="connsiteY2"/>
                </a:cxn>
                <a:cxn ang="0">
                  <a:pos x="connsiteX3" y="connsiteY3"/>
                </a:cxn>
              </a:cxnLst>
              <a:rect l="l" t="t" r="r" b="b"/>
              <a:pathLst>
                <a:path w="119057" h="47623">
                  <a:moveTo>
                    <a:pt x="0" y="0"/>
                  </a:moveTo>
                  <a:lnTo>
                    <a:pt x="119058" y="0"/>
                  </a:lnTo>
                  <a:lnTo>
                    <a:pt x="119058" y="47623"/>
                  </a:lnTo>
                  <a:lnTo>
                    <a:pt x="0" y="47623"/>
                  </a:lnTo>
                  <a:close/>
                </a:path>
              </a:pathLst>
            </a:custGeom>
            <a:solidFill>
              <a:schemeClr val="tx2"/>
            </a:solidFill>
            <a:ln w="2381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8CD61354-6363-6903-A05D-837DE24C4E10}"/>
                </a:ext>
              </a:extLst>
            </p:cNvPr>
            <p:cNvSpPr/>
            <p:nvPr/>
          </p:nvSpPr>
          <p:spPr>
            <a:xfrm rot="19387806">
              <a:off x="7012785" y="1154906"/>
              <a:ext cx="47625" cy="119062"/>
            </a:xfrm>
            <a:custGeom>
              <a:avLst/>
              <a:gdLst>
                <a:gd name="connsiteX0" fmla="*/ 0 w 47625"/>
                <a:gd name="connsiteY0" fmla="*/ 0 h 119062"/>
                <a:gd name="connsiteX1" fmla="*/ 47625 w 47625"/>
                <a:gd name="connsiteY1" fmla="*/ 0 h 119062"/>
                <a:gd name="connsiteX2" fmla="*/ 47625 w 47625"/>
                <a:gd name="connsiteY2" fmla="*/ 119063 h 119062"/>
                <a:gd name="connsiteX3" fmla="*/ 0 w 47625"/>
                <a:gd name="connsiteY3" fmla="*/ 119063 h 119062"/>
              </a:gdLst>
              <a:ahLst/>
              <a:cxnLst>
                <a:cxn ang="0">
                  <a:pos x="connsiteX0" y="connsiteY0"/>
                </a:cxn>
                <a:cxn ang="0">
                  <a:pos x="connsiteX1" y="connsiteY1"/>
                </a:cxn>
                <a:cxn ang="0">
                  <a:pos x="connsiteX2" y="connsiteY2"/>
                </a:cxn>
                <a:cxn ang="0">
                  <a:pos x="connsiteX3" y="connsiteY3"/>
                </a:cxn>
              </a:cxnLst>
              <a:rect l="l" t="t" r="r" b="b"/>
              <a:pathLst>
                <a:path w="47625" h="119062">
                  <a:moveTo>
                    <a:pt x="0" y="0"/>
                  </a:moveTo>
                  <a:lnTo>
                    <a:pt x="47625" y="0"/>
                  </a:lnTo>
                  <a:lnTo>
                    <a:pt x="47625" y="119063"/>
                  </a:lnTo>
                  <a:lnTo>
                    <a:pt x="0" y="119063"/>
                  </a:lnTo>
                  <a:close/>
                </a:path>
              </a:pathLst>
            </a:custGeom>
            <a:solidFill>
              <a:schemeClr val="tx2"/>
            </a:solidFill>
            <a:ln w="23813" cap="flat">
              <a:noFill/>
              <a:prstDash val="solid"/>
              <a:miter/>
            </a:ln>
          </p:spPr>
          <p:txBody>
            <a:bodyPr rtlCol="0" anchor="ctr"/>
            <a:lstStyle/>
            <a:p>
              <a:endParaRPr lang="en-US"/>
            </a:p>
          </p:txBody>
        </p:sp>
      </p:grpSp>
      <p:grpSp>
        <p:nvGrpSpPr>
          <p:cNvPr id="51" name="Group 50">
            <a:extLst>
              <a:ext uri="{FF2B5EF4-FFF2-40B4-BE49-F238E27FC236}">
                <a16:creationId xmlns:a16="http://schemas.microsoft.com/office/drawing/2014/main" id="{DFC36AC3-DF7D-0598-BBAD-4F0C8D2847F6}"/>
              </a:ext>
            </a:extLst>
          </p:cNvPr>
          <p:cNvGrpSpPr/>
          <p:nvPr/>
        </p:nvGrpSpPr>
        <p:grpSpPr>
          <a:xfrm>
            <a:off x="3810000" y="1678267"/>
            <a:ext cx="762000" cy="758266"/>
            <a:chOff x="4964072" y="761999"/>
            <a:chExt cx="762000" cy="758266"/>
          </a:xfrm>
        </p:grpSpPr>
        <p:sp>
          <p:nvSpPr>
            <p:cNvPr id="52" name="Freeform: Shape 51">
              <a:extLst>
                <a:ext uri="{FF2B5EF4-FFF2-40B4-BE49-F238E27FC236}">
                  <a16:creationId xmlns:a16="http://schemas.microsoft.com/office/drawing/2014/main" id="{5B7C6543-2BB8-DB05-F696-351A6F7B06EA}"/>
                </a:ext>
              </a:extLst>
            </p:cNvPr>
            <p:cNvSpPr/>
            <p:nvPr/>
          </p:nvSpPr>
          <p:spPr>
            <a:xfrm>
              <a:off x="4964072" y="1002943"/>
              <a:ext cx="233362" cy="174803"/>
            </a:xfrm>
            <a:custGeom>
              <a:avLst/>
              <a:gdLst>
                <a:gd name="connsiteX0" fmla="*/ 0 w 233362"/>
                <a:gd name="connsiteY0" fmla="*/ 0 h 174803"/>
                <a:gd name="connsiteX1" fmla="*/ 0 w 233362"/>
                <a:gd name="connsiteY1" fmla="*/ 174803 h 174803"/>
                <a:gd name="connsiteX2" fmla="*/ 233363 w 233362"/>
                <a:gd name="connsiteY2" fmla="*/ 174803 h 174803"/>
                <a:gd name="connsiteX3" fmla="*/ 233363 w 233362"/>
                <a:gd name="connsiteY3" fmla="*/ 0 h 174803"/>
                <a:gd name="connsiteX4" fmla="*/ 0 w 233362"/>
                <a:gd name="connsiteY4" fmla="*/ 0 h 174803"/>
                <a:gd name="connsiteX5" fmla="*/ 185738 w 233362"/>
                <a:gd name="connsiteY5" fmla="*/ 127559 h 174803"/>
                <a:gd name="connsiteX6" fmla="*/ 47625 w 233362"/>
                <a:gd name="connsiteY6" fmla="*/ 127559 h 174803"/>
                <a:gd name="connsiteX7" fmla="*/ 47625 w 233362"/>
                <a:gd name="connsiteY7" fmla="*/ 47244 h 174803"/>
                <a:gd name="connsiteX8" fmla="*/ 185738 w 233362"/>
                <a:gd name="connsiteY8" fmla="*/ 47244 h 174803"/>
                <a:gd name="connsiteX9" fmla="*/ 185738 w 233362"/>
                <a:gd name="connsiteY9" fmla="*/ 127559 h 17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362" h="174803">
                  <a:moveTo>
                    <a:pt x="0" y="0"/>
                  </a:moveTo>
                  <a:lnTo>
                    <a:pt x="0" y="174803"/>
                  </a:lnTo>
                  <a:lnTo>
                    <a:pt x="233363" y="174803"/>
                  </a:lnTo>
                  <a:lnTo>
                    <a:pt x="233363" y="0"/>
                  </a:lnTo>
                  <a:lnTo>
                    <a:pt x="0" y="0"/>
                  </a:lnTo>
                  <a:close/>
                  <a:moveTo>
                    <a:pt x="185738" y="127559"/>
                  </a:moveTo>
                  <a:lnTo>
                    <a:pt x="47625" y="127559"/>
                  </a:lnTo>
                  <a:lnTo>
                    <a:pt x="47625" y="47244"/>
                  </a:lnTo>
                  <a:lnTo>
                    <a:pt x="185738" y="47244"/>
                  </a:lnTo>
                  <a:lnTo>
                    <a:pt x="185738" y="127559"/>
                  </a:lnTo>
                  <a:close/>
                </a:path>
              </a:pathLst>
            </a:custGeom>
            <a:solidFill>
              <a:schemeClr val="tx2"/>
            </a:solidFill>
            <a:ln w="23813"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5E1E560E-89FB-1A5B-60B1-C0B012691E31}"/>
                </a:ext>
              </a:extLst>
            </p:cNvPr>
            <p:cNvSpPr/>
            <p:nvPr/>
          </p:nvSpPr>
          <p:spPr>
            <a:xfrm>
              <a:off x="4964072" y="1066723"/>
              <a:ext cx="385762" cy="200787"/>
            </a:xfrm>
            <a:custGeom>
              <a:avLst/>
              <a:gdLst>
                <a:gd name="connsiteX0" fmla="*/ 316706 w 385762"/>
                <a:gd name="connsiteY0" fmla="*/ 0 h 200787"/>
                <a:gd name="connsiteX1" fmla="*/ 209550 w 385762"/>
                <a:gd name="connsiteY1" fmla="*/ 0 h 200787"/>
                <a:gd name="connsiteX2" fmla="*/ 209550 w 385762"/>
                <a:gd name="connsiteY2" fmla="*/ 47244 h 200787"/>
                <a:gd name="connsiteX3" fmla="*/ 290513 w 385762"/>
                <a:gd name="connsiteY3" fmla="*/ 47244 h 200787"/>
                <a:gd name="connsiteX4" fmla="*/ 330994 w 385762"/>
                <a:gd name="connsiteY4" fmla="*/ 108661 h 200787"/>
                <a:gd name="connsiteX5" fmla="*/ 330994 w 385762"/>
                <a:gd name="connsiteY5" fmla="*/ 153543 h 200787"/>
                <a:gd name="connsiteX6" fmla="*/ 47625 w 385762"/>
                <a:gd name="connsiteY6" fmla="*/ 153543 h 200787"/>
                <a:gd name="connsiteX7" fmla="*/ 47625 w 385762"/>
                <a:gd name="connsiteY7" fmla="*/ 103937 h 200787"/>
                <a:gd name="connsiteX8" fmla="*/ 0 w 385762"/>
                <a:gd name="connsiteY8" fmla="*/ 103937 h 200787"/>
                <a:gd name="connsiteX9" fmla="*/ 0 w 385762"/>
                <a:gd name="connsiteY9" fmla="*/ 200787 h 200787"/>
                <a:gd name="connsiteX10" fmla="*/ 90488 w 385762"/>
                <a:gd name="connsiteY10" fmla="*/ 200787 h 200787"/>
                <a:gd name="connsiteX11" fmla="*/ 90488 w 385762"/>
                <a:gd name="connsiteY11" fmla="*/ 198425 h 200787"/>
                <a:gd name="connsiteX12" fmla="*/ 102394 w 385762"/>
                <a:gd name="connsiteY12" fmla="*/ 186614 h 200787"/>
                <a:gd name="connsiteX13" fmla="*/ 102394 w 385762"/>
                <a:gd name="connsiteY13" fmla="*/ 186614 h 200787"/>
                <a:gd name="connsiteX14" fmla="*/ 104775 w 385762"/>
                <a:gd name="connsiteY14" fmla="*/ 186614 h 200787"/>
                <a:gd name="connsiteX15" fmla="*/ 116681 w 385762"/>
                <a:gd name="connsiteY15" fmla="*/ 198425 h 200787"/>
                <a:gd name="connsiteX16" fmla="*/ 116681 w 385762"/>
                <a:gd name="connsiteY16" fmla="*/ 200787 h 200787"/>
                <a:gd name="connsiteX17" fmla="*/ 261938 w 385762"/>
                <a:gd name="connsiteY17" fmla="*/ 200787 h 200787"/>
                <a:gd name="connsiteX18" fmla="*/ 261938 w 385762"/>
                <a:gd name="connsiteY18" fmla="*/ 200787 h 200787"/>
                <a:gd name="connsiteX19" fmla="*/ 271463 w 385762"/>
                <a:gd name="connsiteY19" fmla="*/ 191338 h 200787"/>
                <a:gd name="connsiteX20" fmla="*/ 271463 w 385762"/>
                <a:gd name="connsiteY20" fmla="*/ 191338 h 200787"/>
                <a:gd name="connsiteX21" fmla="*/ 271463 w 385762"/>
                <a:gd name="connsiteY21" fmla="*/ 188976 h 200787"/>
                <a:gd name="connsiteX22" fmla="*/ 280988 w 385762"/>
                <a:gd name="connsiteY22" fmla="*/ 179527 h 200787"/>
                <a:gd name="connsiteX23" fmla="*/ 290513 w 385762"/>
                <a:gd name="connsiteY23" fmla="*/ 188976 h 200787"/>
                <a:gd name="connsiteX24" fmla="*/ 290513 w 385762"/>
                <a:gd name="connsiteY24" fmla="*/ 191338 h 200787"/>
                <a:gd name="connsiteX25" fmla="*/ 295275 w 385762"/>
                <a:gd name="connsiteY25" fmla="*/ 198425 h 200787"/>
                <a:gd name="connsiteX26" fmla="*/ 295275 w 385762"/>
                <a:gd name="connsiteY26" fmla="*/ 200787 h 200787"/>
                <a:gd name="connsiteX27" fmla="*/ 385763 w 385762"/>
                <a:gd name="connsiteY27" fmla="*/ 200787 h 200787"/>
                <a:gd name="connsiteX28" fmla="*/ 385763 w 385762"/>
                <a:gd name="connsiteY28" fmla="*/ 92126 h 200787"/>
                <a:gd name="connsiteX29" fmla="*/ 316706 w 385762"/>
                <a:gd name="connsiteY29" fmla="*/ 0 h 200787"/>
                <a:gd name="connsiteX30" fmla="*/ 76200 w 385762"/>
                <a:gd name="connsiteY30" fmla="*/ 198425 h 200787"/>
                <a:gd name="connsiteX31" fmla="*/ 66675 w 385762"/>
                <a:gd name="connsiteY31" fmla="*/ 188976 h 200787"/>
                <a:gd name="connsiteX32" fmla="*/ 76200 w 385762"/>
                <a:gd name="connsiteY32" fmla="*/ 179527 h 200787"/>
                <a:gd name="connsiteX33" fmla="*/ 85725 w 385762"/>
                <a:gd name="connsiteY33" fmla="*/ 188976 h 200787"/>
                <a:gd name="connsiteX34" fmla="*/ 76200 w 385762"/>
                <a:gd name="connsiteY34" fmla="*/ 198425 h 20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5762" h="200787">
                  <a:moveTo>
                    <a:pt x="316706" y="0"/>
                  </a:moveTo>
                  <a:lnTo>
                    <a:pt x="209550" y="0"/>
                  </a:lnTo>
                  <a:lnTo>
                    <a:pt x="209550" y="47244"/>
                  </a:lnTo>
                  <a:lnTo>
                    <a:pt x="290513" y="47244"/>
                  </a:lnTo>
                  <a:lnTo>
                    <a:pt x="330994" y="108661"/>
                  </a:lnTo>
                  <a:lnTo>
                    <a:pt x="330994" y="153543"/>
                  </a:lnTo>
                  <a:lnTo>
                    <a:pt x="47625" y="153543"/>
                  </a:lnTo>
                  <a:lnTo>
                    <a:pt x="47625" y="103937"/>
                  </a:lnTo>
                  <a:lnTo>
                    <a:pt x="0" y="103937"/>
                  </a:lnTo>
                  <a:lnTo>
                    <a:pt x="0" y="200787"/>
                  </a:lnTo>
                  <a:lnTo>
                    <a:pt x="90488" y="200787"/>
                  </a:lnTo>
                  <a:lnTo>
                    <a:pt x="90488" y="198425"/>
                  </a:lnTo>
                  <a:cubicBezTo>
                    <a:pt x="90488" y="193701"/>
                    <a:pt x="95250" y="186614"/>
                    <a:pt x="102394" y="186614"/>
                  </a:cubicBezTo>
                  <a:cubicBezTo>
                    <a:pt x="102394" y="186614"/>
                    <a:pt x="102394" y="186614"/>
                    <a:pt x="102394" y="186614"/>
                  </a:cubicBezTo>
                  <a:cubicBezTo>
                    <a:pt x="102394" y="186614"/>
                    <a:pt x="102394" y="186614"/>
                    <a:pt x="104775" y="186614"/>
                  </a:cubicBezTo>
                  <a:cubicBezTo>
                    <a:pt x="111919" y="186614"/>
                    <a:pt x="116681" y="191338"/>
                    <a:pt x="116681" y="198425"/>
                  </a:cubicBezTo>
                  <a:lnTo>
                    <a:pt x="116681" y="200787"/>
                  </a:lnTo>
                  <a:lnTo>
                    <a:pt x="261938" y="200787"/>
                  </a:lnTo>
                  <a:lnTo>
                    <a:pt x="261938" y="200787"/>
                  </a:lnTo>
                  <a:cubicBezTo>
                    <a:pt x="261938" y="196063"/>
                    <a:pt x="266700" y="191338"/>
                    <a:pt x="271463" y="191338"/>
                  </a:cubicBezTo>
                  <a:cubicBezTo>
                    <a:pt x="271463" y="191338"/>
                    <a:pt x="271463" y="191338"/>
                    <a:pt x="271463" y="191338"/>
                  </a:cubicBezTo>
                  <a:cubicBezTo>
                    <a:pt x="271463" y="191338"/>
                    <a:pt x="271463" y="191338"/>
                    <a:pt x="271463" y="188976"/>
                  </a:cubicBezTo>
                  <a:cubicBezTo>
                    <a:pt x="271463" y="184252"/>
                    <a:pt x="276225" y="179527"/>
                    <a:pt x="280988" y="179527"/>
                  </a:cubicBezTo>
                  <a:cubicBezTo>
                    <a:pt x="285750" y="179527"/>
                    <a:pt x="290513" y="184252"/>
                    <a:pt x="290513" y="188976"/>
                  </a:cubicBezTo>
                  <a:lnTo>
                    <a:pt x="290513" y="191338"/>
                  </a:lnTo>
                  <a:cubicBezTo>
                    <a:pt x="292894" y="193701"/>
                    <a:pt x="295275" y="196063"/>
                    <a:pt x="295275" y="198425"/>
                  </a:cubicBezTo>
                  <a:lnTo>
                    <a:pt x="295275" y="200787"/>
                  </a:lnTo>
                  <a:lnTo>
                    <a:pt x="385763" y="200787"/>
                  </a:lnTo>
                  <a:lnTo>
                    <a:pt x="385763" y="92126"/>
                  </a:lnTo>
                  <a:lnTo>
                    <a:pt x="316706" y="0"/>
                  </a:lnTo>
                  <a:close/>
                  <a:moveTo>
                    <a:pt x="76200" y="198425"/>
                  </a:moveTo>
                  <a:cubicBezTo>
                    <a:pt x="71438" y="198425"/>
                    <a:pt x="66675" y="193701"/>
                    <a:pt x="66675" y="188976"/>
                  </a:cubicBezTo>
                  <a:cubicBezTo>
                    <a:pt x="66675" y="184252"/>
                    <a:pt x="71438" y="179527"/>
                    <a:pt x="76200" y="179527"/>
                  </a:cubicBezTo>
                  <a:cubicBezTo>
                    <a:pt x="80963" y="179527"/>
                    <a:pt x="85725" y="184252"/>
                    <a:pt x="85725" y="188976"/>
                  </a:cubicBezTo>
                  <a:cubicBezTo>
                    <a:pt x="85725" y="193701"/>
                    <a:pt x="83344" y="198425"/>
                    <a:pt x="76200" y="198425"/>
                  </a:cubicBezTo>
                  <a:close/>
                </a:path>
              </a:pathLst>
            </a:custGeom>
            <a:solidFill>
              <a:schemeClr val="tx2"/>
            </a:solidFill>
            <a:ln w="23813"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B14CE7BB-1D4C-CD05-9E51-14060BD504DC}"/>
                </a:ext>
              </a:extLst>
            </p:cNvPr>
            <p:cNvSpPr/>
            <p:nvPr/>
          </p:nvSpPr>
          <p:spPr>
            <a:xfrm>
              <a:off x="5583197" y="761999"/>
              <a:ext cx="142875" cy="259842"/>
            </a:xfrm>
            <a:custGeom>
              <a:avLst/>
              <a:gdLst>
                <a:gd name="connsiteX0" fmla="*/ 95250 w 142875"/>
                <a:gd name="connsiteY0" fmla="*/ 47244 h 259842"/>
                <a:gd name="connsiteX1" fmla="*/ 95250 w 142875"/>
                <a:gd name="connsiteY1" fmla="*/ 212598 h 259842"/>
                <a:gd name="connsiteX2" fmla="*/ 47625 w 142875"/>
                <a:gd name="connsiteY2" fmla="*/ 212598 h 259842"/>
                <a:gd name="connsiteX3" fmla="*/ 47625 w 142875"/>
                <a:gd name="connsiteY3" fmla="*/ 47244 h 259842"/>
                <a:gd name="connsiteX4" fmla="*/ 95250 w 142875"/>
                <a:gd name="connsiteY4" fmla="*/ 47244 h 259842"/>
                <a:gd name="connsiteX5" fmla="*/ 142875 w 142875"/>
                <a:gd name="connsiteY5" fmla="*/ 0 h 259842"/>
                <a:gd name="connsiteX6" fmla="*/ 0 w 142875"/>
                <a:gd name="connsiteY6" fmla="*/ 0 h 259842"/>
                <a:gd name="connsiteX7" fmla="*/ 0 w 142875"/>
                <a:gd name="connsiteY7" fmla="*/ 259842 h 259842"/>
                <a:gd name="connsiteX8" fmla="*/ 142875 w 142875"/>
                <a:gd name="connsiteY8" fmla="*/ 259842 h 259842"/>
                <a:gd name="connsiteX9" fmla="*/ 142875 w 142875"/>
                <a:gd name="connsiteY9" fmla="*/ 0 h 259842"/>
                <a:gd name="connsiteX10" fmla="*/ 142875 w 142875"/>
                <a:gd name="connsiteY10" fmla="*/ 0 h 259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259842">
                  <a:moveTo>
                    <a:pt x="95250" y="47244"/>
                  </a:moveTo>
                  <a:lnTo>
                    <a:pt x="95250" y="212598"/>
                  </a:lnTo>
                  <a:lnTo>
                    <a:pt x="47625" y="212598"/>
                  </a:lnTo>
                  <a:lnTo>
                    <a:pt x="47625" y="47244"/>
                  </a:lnTo>
                  <a:lnTo>
                    <a:pt x="95250" y="47244"/>
                  </a:lnTo>
                  <a:moveTo>
                    <a:pt x="142875" y="0"/>
                  </a:moveTo>
                  <a:lnTo>
                    <a:pt x="0" y="0"/>
                  </a:lnTo>
                  <a:lnTo>
                    <a:pt x="0" y="259842"/>
                  </a:lnTo>
                  <a:lnTo>
                    <a:pt x="142875" y="259842"/>
                  </a:lnTo>
                  <a:lnTo>
                    <a:pt x="142875" y="0"/>
                  </a:lnTo>
                  <a:lnTo>
                    <a:pt x="142875" y="0"/>
                  </a:lnTo>
                  <a:close/>
                </a:path>
              </a:pathLst>
            </a:custGeom>
            <a:solidFill>
              <a:schemeClr val="tx2"/>
            </a:solidFill>
            <a:ln w="23813"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AE831F33-6202-2230-E28B-A79C632601AF}"/>
                </a:ext>
              </a:extLst>
            </p:cNvPr>
            <p:cNvSpPr/>
            <p:nvPr/>
          </p:nvSpPr>
          <p:spPr>
            <a:xfrm>
              <a:off x="5487947" y="832865"/>
              <a:ext cx="142875" cy="188976"/>
            </a:xfrm>
            <a:custGeom>
              <a:avLst/>
              <a:gdLst>
                <a:gd name="connsiteX0" fmla="*/ 95250 w 142875"/>
                <a:gd name="connsiteY0" fmla="*/ 66142 h 188976"/>
                <a:gd name="connsiteX1" fmla="*/ 95250 w 142875"/>
                <a:gd name="connsiteY1" fmla="*/ 141732 h 188976"/>
                <a:gd name="connsiteX2" fmla="*/ 47625 w 142875"/>
                <a:gd name="connsiteY2" fmla="*/ 141732 h 188976"/>
                <a:gd name="connsiteX3" fmla="*/ 47625 w 142875"/>
                <a:gd name="connsiteY3" fmla="*/ 80315 h 188976"/>
                <a:gd name="connsiteX4" fmla="*/ 95250 w 142875"/>
                <a:gd name="connsiteY4" fmla="*/ 66142 h 188976"/>
                <a:gd name="connsiteX5" fmla="*/ 142875 w 142875"/>
                <a:gd name="connsiteY5" fmla="*/ 0 h 188976"/>
                <a:gd name="connsiteX6" fmla="*/ 0 w 142875"/>
                <a:gd name="connsiteY6" fmla="*/ 47244 h 188976"/>
                <a:gd name="connsiteX7" fmla="*/ 0 w 142875"/>
                <a:gd name="connsiteY7" fmla="*/ 188976 h 188976"/>
                <a:gd name="connsiteX8" fmla="*/ 142875 w 142875"/>
                <a:gd name="connsiteY8" fmla="*/ 188976 h 188976"/>
                <a:gd name="connsiteX9" fmla="*/ 142875 w 142875"/>
                <a:gd name="connsiteY9" fmla="*/ 0 h 188976"/>
                <a:gd name="connsiteX10" fmla="*/ 142875 w 142875"/>
                <a:gd name="connsiteY10" fmla="*/ 0 h 18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8976">
                  <a:moveTo>
                    <a:pt x="95250" y="66142"/>
                  </a:moveTo>
                  <a:lnTo>
                    <a:pt x="95250" y="141732"/>
                  </a:lnTo>
                  <a:lnTo>
                    <a:pt x="47625" y="141732"/>
                  </a:lnTo>
                  <a:lnTo>
                    <a:pt x="47625" y="80315"/>
                  </a:lnTo>
                  <a:lnTo>
                    <a:pt x="95250" y="66142"/>
                  </a:lnTo>
                  <a:moveTo>
                    <a:pt x="142875" y="0"/>
                  </a:moveTo>
                  <a:lnTo>
                    <a:pt x="0" y="47244"/>
                  </a:lnTo>
                  <a:lnTo>
                    <a:pt x="0" y="188976"/>
                  </a:lnTo>
                  <a:lnTo>
                    <a:pt x="142875" y="188976"/>
                  </a:lnTo>
                  <a:lnTo>
                    <a:pt x="142875" y="0"/>
                  </a:lnTo>
                  <a:lnTo>
                    <a:pt x="142875" y="0"/>
                  </a:lnTo>
                  <a:close/>
                </a:path>
              </a:pathLst>
            </a:custGeom>
            <a:solidFill>
              <a:schemeClr val="tx2"/>
            </a:solidFill>
            <a:ln w="23813"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29C99F6D-AC72-7595-4A7D-F90D38388659}"/>
                </a:ext>
              </a:extLst>
            </p:cNvPr>
            <p:cNvSpPr/>
            <p:nvPr/>
          </p:nvSpPr>
          <p:spPr>
            <a:xfrm>
              <a:off x="5392697" y="832865"/>
              <a:ext cx="142875" cy="188976"/>
            </a:xfrm>
            <a:custGeom>
              <a:avLst/>
              <a:gdLst>
                <a:gd name="connsiteX0" fmla="*/ 95250 w 142875"/>
                <a:gd name="connsiteY0" fmla="*/ 66142 h 188976"/>
                <a:gd name="connsiteX1" fmla="*/ 95250 w 142875"/>
                <a:gd name="connsiteY1" fmla="*/ 141732 h 188976"/>
                <a:gd name="connsiteX2" fmla="*/ 47625 w 142875"/>
                <a:gd name="connsiteY2" fmla="*/ 141732 h 188976"/>
                <a:gd name="connsiteX3" fmla="*/ 47625 w 142875"/>
                <a:gd name="connsiteY3" fmla="*/ 80315 h 188976"/>
                <a:gd name="connsiteX4" fmla="*/ 95250 w 142875"/>
                <a:gd name="connsiteY4" fmla="*/ 66142 h 188976"/>
                <a:gd name="connsiteX5" fmla="*/ 142875 w 142875"/>
                <a:gd name="connsiteY5" fmla="*/ 0 h 188976"/>
                <a:gd name="connsiteX6" fmla="*/ 0 w 142875"/>
                <a:gd name="connsiteY6" fmla="*/ 47244 h 188976"/>
                <a:gd name="connsiteX7" fmla="*/ 0 w 142875"/>
                <a:gd name="connsiteY7" fmla="*/ 188976 h 188976"/>
                <a:gd name="connsiteX8" fmla="*/ 142875 w 142875"/>
                <a:gd name="connsiteY8" fmla="*/ 188976 h 188976"/>
                <a:gd name="connsiteX9" fmla="*/ 142875 w 142875"/>
                <a:gd name="connsiteY9" fmla="*/ 0 h 188976"/>
                <a:gd name="connsiteX10" fmla="*/ 142875 w 142875"/>
                <a:gd name="connsiteY10" fmla="*/ 0 h 18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8976">
                  <a:moveTo>
                    <a:pt x="95250" y="66142"/>
                  </a:moveTo>
                  <a:lnTo>
                    <a:pt x="95250" y="141732"/>
                  </a:lnTo>
                  <a:lnTo>
                    <a:pt x="47625" y="141732"/>
                  </a:lnTo>
                  <a:lnTo>
                    <a:pt x="47625" y="80315"/>
                  </a:lnTo>
                  <a:lnTo>
                    <a:pt x="95250" y="66142"/>
                  </a:lnTo>
                  <a:moveTo>
                    <a:pt x="142875" y="0"/>
                  </a:moveTo>
                  <a:lnTo>
                    <a:pt x="0" y="47244"/>
                  </a:lnTo>
                  <a:lnTo>
                    <a:pt x="0" y="188976"/>
                  </a:lnTo>
                  <a:lnTo>
                    <a:pt x="142875" y="188976"/>
                  </a:lnTo>
                  <a:lnTo>
                    <a:pt x="142875" y="0"/>
                  </a:lnTo>
                  <a:lnTo>
                    <a:pt x="142875" y="0"/>
                  </a:lnTo>
                  <a:close/>
                </a:path>
              </a:pathLst>
            </a:custGeom>
            <a:solidFill>
              <a:schemeClr val="tx2"/>
            </a:solidFill>
            <a:ln w="23813"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3D9AB06A-C099-1F32-976A-5FE4086CC944}"/>
                </a:ext>
              </a:extLst>
            </p:cNvPr>
            <p:cNvSpPr/>
            <p:nvPr/>
          </p:nvSpPr>
          <p:spPr>
            <a:xfrm>
              <a:off x="5297447" y="832865"/>
              <a:ext cx="142875" cy="188976"/>
            </a:xfrm>
            <a:custGeom>
              <a:avLst/>
              <a:gdLst>
                <a:gd name="connsiteX0" fmla="*/ 95250 w 142875"/>
                <a:gd name="connsiteY0" fmla="*/ 66142 h 188976"/>
                <a:gd name="connsiteX1" fmla="*/ 95250 w 142875"/>
                <a:gd name="connsiteY1" fmla="*/ 141732 h 188976"/>
                <a:gd name="connsiteX2" fmla="*/ 47625 w 142875"/>
                <a:gd name="connsiteY2" fmla="*/ 141732 h 188976"/>
                <a:gd name="connsiteX3" fmla="*/ 47625 w 142875"/>
                <a:gd name="connsiteY3" fmla="*/ 80315 h 188976"/>
                <a:gd name="connsiteX4" fmla="*/ 95250 w 142875"/>
                <a:gd name="connsiteY4" fmla="*/ 66142 h 188976"/>
                <a:gd name="connsiteX5" fmla="*/ 142875 w 142875"/>
                <a:gd name="connsiteY5" fmla="*/ 0 h 188976"/>
                <a:gd name="connsiteX6" fmla="*/ 0 w 142875"/>
                <a:gd name="connsiteY6" fmla="*/ 47244 h 188976"/>
                <a:gd name="connsiteX7" fmla="*/ 0 w 142875"/>
                <a:gd name="connsiteY7" fmla="*/ 188976 h 188976"/>
                <a:gd name="connsiteX8" fmla="*/ 142875 w 142875"/>
                <a:gd name="connsiteY8" fmla="*/ 188976 h 188976"/>
                <a:gd name="connsiteX9" fmla="*/ 142875 w 142875"/>
                <a:gd name="connsiteY9" fmla="*/ 0 h 188976"/>
                <a:gd name="connsiteX10" fmla="*/ 142875 w 142875"/>
                <a:gd name="connsiteY10" fmla="*/ 0 h 18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875" h="188976">
                  <a:moveTo>
                    <a:pt x="95250" y="66142"/>
                  </a:moveTo>
                  <a:lnTo>
                    <a:pt x="95250" y="141732"/>
                  </a:lnTo>
                  <a:lnTo>
                    <a:pt x="47625" y="141732"/>
                  </a:lnTo>
                  <a:lnTo>
                    <a:pt x="47625" y="80315"/>
                  </a:lnTo>
                  <a:lnTo>
                    <a:pt x="95250" y="66142"/>
                  </a:lnTo>
                  <a:moveTo>
                    <a:pt x="142875" y="0"/>
                  </a:moveTo>
                  <a:lnTo>
                    <a:pt x="0" y="47244"/>
                  </a:lnTo>
                  <a:lnTo>
                    <a:pt x="0" y="188976"/>
                  </a:lnTo>
                  <a:lnTo>
                    <a:pt x="142875" y="188976"/>
                  </a:lnTo>
                  <a:lnTo>
                    <a:pt x="142875" y="0"/>
                  </a:lnTo>
                  <a:lnTo>
                    <a:pt x="142875" y="0"/>
                  </a:lnTo>
                  <a:close/>
                </a:path>
              </a:pathLst>
            </a:custGeom>
            <a:solidFill>
              <a:schemeClr val="tx2"/>
            </a:solidFill>
            <a:ln w="23813"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6A5072E0-3329-0500-5DE5-BC73EA1B419E}"/>
                </a:ext>
              </a:extLst>
            </p:cNvPr>
            <p:cNvSpPr/>
            <p:nvPr/>
          </p:nvSpPr>
          <p:spPr>
            <a:xfrm>
              <a:off x="5042653" y="785621"/>
              <a:ext cx="659606" cy="703936"/>
            </a:xfrm>
            <a:custGeom>
              <a:avLst/>
              <a:gdLst>
                <a:gd name="connsiteX0" fmla="*/ 252412 w 659606"/>
                <a:gd name="connsiteY0" fmla="*/ 703937 h 703936"/>
                <a:gd name="connsiteX1" fmla="*/ 202406 w 659606"/>
                <a:gd name="connsiteY1" fmla="*/ 694488 h 703936"/>
                <a:gd name="connsiteX2" fmla="*/ 214313 w 659606"/>
                <a:gd name="connsiteY2" fmla="*/ 649606 h 703936"/>
                <a:gd name="connsiteX3" fmla="*/ 257175 w 659606"/>
                <a:gd name="connsiteY3" fmla="*/ 659055 h 703936"/>
                <a:gd name="connsiteX4" fmla="*/ 252412 w 659606"/>
                <a:gd name="connsiteY4" fmla="*/ 703937 h 703936"/>
                <a:gd name="connsiteX5" fmla="*/ 154781 w 659606"/>
                <a:gd name="connsiteY5" fmla="*/ 677952 h 703936"/>
                <a:gd name="connsiteX6" fmla="*/ 109538 w 659606"/>
                <a:gd name="connsiteY6" fmla="*/ 654330 h 703936"/>
                <a:gd name="connsiteX7" fmla="*/ 133350 w 659606"/>
                <a:gd name="connsiteY7" fmla="*/ 614173 h 703936"/>
                <a:gd name="connsiteX8" fmla="*/ 171450 w 659606"/>
                <a:gd name="connsiteY8" fmla="*/ 635433 h 703936"/>
                <a:gd name="connsiteX9" fmla="*/ 154781 w 659606"/>
                <a:gd name="connsiteY9" fmla="*/ 677952 h 703936"/>
                <a:gd name="connsiteX10" fmla="*/ 69056 w 659606"/>
                <a:gd name="connsiteY10" fmla="*/ 623622 h 703936"/>
                <a:gd name="connsiteX11" fmla="*/ 33337 w 659606"/>
                <a:gd name="connsiteY11" fmla="*/ 588189 h 703936"/>
                <a:gd name="connsiteX12" fmla="*/ 69056 w 659606"/>
                <a:gd name="connsiteY12" fmla="*/ 557480 h 703936"/>
                <a:gd name="connsiteX13" fmla="*/ 100013 w 659606"/>
                <a:gd name="connsiteY13" fmla="*/ 588189 h 703936"/>
                <a:gd name="connsiteX14" fmla="*/ 69056 w 659606"/>
                <a:gd name="connsiteY14" fmla="*/ 623622 h 703936"/>
                <a:gd name="connsiteX15" fmla="*/ 626269 w 659606"/>
                <a:gd name="connsiteY15" fmla="*/ 500787 h 703936"/>
                <a:gd name="connsiteX16" fmla="*/ 583406 w 659606"/>
                <a:gd name="connsiteY16" fmla="*/ 481889 h 703936"/>
                <a:gd name="connsiteX17" fmla="*/ 597694 w 659606"/>
                <a:gd name="connsiteY17" fmla="*/ 441732 h 703936"/>
                <a:gd name="connsiteX18" fmla="*/ 642938 w 659606"/>
                <a:gd name="connsiteY18" fmla="*/ 455905 h 703936"/>
                <a:gd name="connsiteX19" fmla="*/ 626269 w 659606"/>
                <a:gd name="connsiteY19" fmla="*/ 500787 h 703936"/>
                <a:gd name="connsiteX20" fmla="*/ 654844 w 659606"/>
                <a:gd name="connsiteY20" fmla="*/ 403937 h 703936"/>
                <a:gd name="connsiteX21" fmla="*/ 607219 w 659606"/>
                <a:gd name="connsiteY21" fmla="*/ 396850 h 703936"/>
                <a:gd name="connsiteX22" fmla="*/ 611981 w 659606"/>
                <a:gd name="connsiteY22" fmla="*/ 354330 h 703936"/>
                <a:gd name="connsiteX23" fmla="*/ 659606 w 659606"/>
                <a:gd name="connsiteY23" fmla="*/ 351968 h 703936"/>
                <a:gd name="connsiteX24" fmla="*/ 659606 w 659606"/>
                <a:gd name="connsiteY24" fmla="*/ 354330 h 703936"/>
                <a:gd name="connsiteX25" fmla="*/ 654844 w 659606"/>
                <a:gd name="connsiteY25" fmla="*/ 403937 h 703936"/>
                <a:gd name="connsiteX26" fmla="*/ 609600 w 659606"/>
                <a:gd name="connsiteY26" fmla="*/ 309449 h 703936"/>
                <a:gd name="connsiteX27" fmla="*/ 600075 w 659606"/>
                <a:gd name="connsiteY27" fmla="*/ 266929 h 703936"/>
                <a:gd name="connsiteX28" fmla="*/ 645319 w 659606"/>
                <a:gd name="connsiteY28" fmla="*/ 252756 h 703936"/>
                <a:gd name="connsiteX29" fmla="*/ 657225 w 659606"/>
                <a:gd name="connsiteY29" fmla="*/ 302362 h 703936"/>
                <a:gd name="connsiteX30" fmla="*/ 609600 w 659606"/>
                <a:gd name="connsiteY30" fmla="*/ 309449 h 703936"/>
                <a:gd name="connsiteX31" fmla="*/ 40481 w 659606"/>
                <a:gd name="connsiteY31" fmla="*/ 188976 h 703936"/>
                <a:gd name="connsiteX32" fmla="*/ 0 w 659606"/>
                <a:gd name="connsiteY32" fmla="*/ 162992 h 703936"/>
                <a:gd name="connsiteX33" fmla="*/ 30956 w 659606"/>
                <a:gd name="connsiteY33" fmla="*/ 122835 h 703936"/>
                <a:gd name="connsiteX34" fmla="*/ 66675 w 659606"/>
                <a:gd name="connsiteY34" fmla="*/ 153543 h 703936"/>
                <a:gd name="connsiteX35" fmla="*/ 40481 w 659606"/>
                <a:gd name="connsiteY35" fmla="*/ 188976 h 703936"/>
                <a:gd name="connsiteX36" fmla="*/ 97631 w 659606"/>
                <a:gd name="connsiteY36" fmla="*/ 122835 h 703936"/>
                <a:gd name="connsiteX37" fmla="*/ 66675 w 659606"/>
                <a:gd name="connsiteY37" fmla="*/ 85039 h 703936"/>
                <a:gd name="connsiteX38" fmla="*/ 107156 w 659606"/>
                <a:gd name="connsiteY38" fmla="*/ 54331 h 703936"/>
                <a:gd name="connsiteX39" fmla="*/ 133350 w 659606"/>
                <a:gd name="connsiteY39" fmla="*/ 94488 h 703936"/>
                <a:gd name="connsiteX40" fmla="*/ 97631 w 659606"/>
                <a:gd name="connsiteY40" fmla="*/ 122835 h 703936"/>
                <a:gd name="connsiteX41" fmla="*/ 171450 w 659606"/>
                <a:gd name="connsiteY41" fmla="*/ 75590 h 703936"/>
                <a:gd name="connsiteX42" fmla="*/ 152400 w 659606"/>
                <a:gd name="connsiteY42" fmla="*/ 33071 h 703936"/>
                <a:gd name="connsiteX43" fmla="*/ 200025 w 659606"/>
                <a:gd name="connsiteY43" fmla="*/ 16535 h 703936"/>
                <a:gd name="connsiteX44" fmla="*/ 211931 w 659606"/>
                <a:gd name="connsiteY44" fmla="*/ 61417 h 703936"/>
                <a:gd name="connsiteX45" fmla="*/ 171450 w 659606"/>
                <a:gd name="connsiteY45" fmla="*/ 75590 h 703936"/>
                <a:gd name="connsiteX46" fmla="*/ 257175 w 659606"/>
                <a:gd name="connsiteY46" fmla="*/ 51968 h 703936"/>
                <a:gd name="connsiteX47" fmla="*/ 250031 w 659606"/>
                <a:gd name="connsiteY47" fmla="*/ 4724 h 703936"/>
                <a:gd name="connsiteX48" fmla="*/ 300038 w 659606"/>
                <a:gd name="connsiteY48" fmla="*/ 0 h 703936"/>
                <a:gd name="connsiteX49" fmla="*/ 302419 w 659606"/>
                <a:gd name="connsiteY49" fmla="*/ 47244 h 703936"/>
                <a:gd name="connsiteX50" fmla="*/ 257175 w 659606"/>
                <a:gd name="connsiteY50" fmla="*/ 51968 h 70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9606" h="703936">
                  <a:moveTo>
                    <a:pt x="252412" y="703937"/>
                  </a:moveTo>
                  <a:cubicBezTo>
                    <a:pt x="235744" y="701574"/>
                    <a:pt x="219075" y="696850"/>
                    <a:pt x="202406" y="694488"/>
                  </a:cubicBezTo>
                  <a:lnTo>
                    <a:pt x="214313" y="649606"/>
                  </a:lnTo>
                  <a:cubicBezTo>
                    <a:pt x="228600" y="654330"/>
                    <a:pt x="242888" y="656692"/>
                    <a:pt x="257175" y="659055"/>
                  </a:cubicBezTo>
                  <a:lnTo>
                    <a:pt x="252412" y="703937"/>
                  </a:lnTo>
                  <a:close/>
                  <a:moveTo>
                    <a:pt x="154781" y="677952"/>
                  </a:moveTo>
                  <a:cubicBezTo>
                    <a:pt x="138113" y="670866"/>
                    <a:pt x="123825" y="663779"/>
                    <a:pt x="109538" y="654330"/>
                  </a:cubicBezTo>
                  <a:lnTo>
                    <a:pt x="133350" y="614173"/>
                  </a:lnTo>
                  <a:cubicBezTo>
                    <a:pt x="145256" y="621259"/>
                    <a:pt x="159544" y="628346"/>
                    <a:pt x="171450" y="635433"/>
                  </a:cubicBezTo>
                  <a:lnTo>
                    <a:pt x="154781" y="677952"/>
                  </a:lnTo>
                  <a:close/>
                  <a:moveTo>
                    <a:pt x="69056" y="623622"/>
                  </a:moveTo>
                  <a:cubicBezTo>
                    <a:pt x="57150" y="611811"/>
                    <a:pt x="42863" y="600000"/>
                    <a:pt x="33337" y="588189"/>
                  </a:cubicBezTo>
                  <a:lnTo>
                    <a:pt x="69056" y="557480"/>
                  </a:lnTo>
                  <a:cubicBezTo>
                    <a:pt x="78581" y="566929"/>
                    <a:pt x="88106" y="578740"/>
                    <a:pt x="100013" y="588189"/>
                  </a:cubicBezTo>
                  <a:lnTo>
                    <a:pt x="69056" y="623622"/>
                  </a:lnTo>
                  <a:close/>
                  <a:moveTo>
                    <a:pt x="626269" y="500787"/>
                  </a:moveTo>
                  <a:lnTo>
                    <a:pt x="583406" y="481889"/>
                  </a:lnTo>
                  <a:cubicBezTo>
                    <a:pt x="590550" y="467716"/>
                    <a:pt x="595313" y="455905"/>
                    <a:pt x="597694" y="441732"/>
                  </a:cubicBezTo>
                  <a:lnTo>
                    <a:pt x="642938" y="455905"/>
                  </a:lnTo>
                  <a:cubicBezTo>
                    <a:pt x="640556" y="470078"/>
                    <a:pt x="633413" y="486614"/>
                    <a:pt x="626269" y="500787"/>
                  </a:cubicBezTo>
                  <a:close/>
                  <a:moveTo>
                    <a:pt x="654844" y="403937"/>
                  </a:moveTo>
                  <a:lnTo>
                    <a:pt x="607219" y="396850"/>
                  </a:lnTo>
                  <a:cubicBezTo>
                    <a:pt x="611981" y="382677"/>
                    <a:pt x="611981" y="368504"/>
                    <a:pt x="611981" y="354330"/>
                  </a:cubicBezTo>
                  <a:lnTo>
                    <a:pt x="659606" y="351968"/>
                  </a:lnTo>
                  <a:lnTo>
                    <a:pt x="659606" y="354330"/>
                  </a:lnTo>
                  <a:cubicBezTo>
                    <a:pt x="659606" y="370866"/>
                    <a:pt x="657225" y="387401"/>
                    <a:pt x="654844" y="403937"/>
                  </a:cubicBezTo>
                  <a:close/>
                  <a:moveTo>
                    <a:pt x="609600" y="309449"/>
                  </a:moveTo>
                  <a:cubicBezTo>
                    <a:pt x="607219" y="295275"/>
                    <a:pt x="604838" y="281102"/>
                    <a:pt x="600075" y="266929"/>
                  </a:cubicBezTo>
                  <a:lnTo>
                    <a:pt x="645319" y="252756"/>
                  </a:lnTo>
                  <a:cubicBezTo>
                    <a:pt x="650081" y="269291"/>
                    <a:pt x="654844" y="285827"/>
                    <a:pt x="657225" y="302362"/>
                  </a:cubicBezTo>
                  <a:lnTo>
                    <a:pt x="609600" y="309449"/>
                  </a:lnTo>
                  <a:close/>
                  <a:moveTo>
                    <a:pt x="40481" y="188976"/>
                  </a:moveTo>
                  <a:lnTo>
                    <a:pt x="0" y="162992"/>
                  </a:lnTo>
                  <a:cubicBezTo>
                    <a:pt x="9525" y="148819"/>
                    <a:pt x="19050" y="134646"/>
                    <a:pt x="30956" y="122835"/>
                  </a:cubicBezTo>
                  <a:lnTo>
                    <a:pt x="66675" y="153543"/>
                  </a:lnTo>
                  <a:cubicBezTo>
                    <a:pt x="57150" y="162992"/>
                    <a:pt x="50006" y="174803"/>
                    <a:pt x="40481" y="188976"/>
                  </a:cubicBezTo>
                  <a:close/>
                  <a:moveTo>
                    <a:pt x="97631" y="122835"/>
                  </a:moveTo>
                  <a:lnTo>
                    <a:pt x="66675" y="85039"/>
                  </a:lnTo>
                  <a:cubicBezTo>
                    <a:pt x="78581" y="73228"/>
                    <a:pt x="92869" y="63779"/>
                    <a:pt x="107156" y="54331"/>
                  </a:cubicBezTo>
                  <a:lnTo>
                    <a:pt x="133350" y="94488"/>
                  </a:lnTo>
                  <a:cubicBezTo>
                    <a:pt x="121444" y="103937"/>
                    <a:pt x="109538" y="113386"/>
                    <a:pt x="97631" y="122835"/>
                  </a:cubicBezTo>
                  <a:close/>
                  <a:moveTo>
                    <a:pt x="171450" y="75590"/>
                  </a:moveTo>
                  <a:lnTo>
                    <a:pt x="152400" y="33071"/>
                  </a:lnTo>
                  <a:cubicBezTo>
                    <a:pt x="166688" y="25984"/>
                    <a:pt x="183356" y="21260"/>
                    <a:pt x="200025" y="16535"/>
                  </a:cubicBezTo>
                  <a:lnTo>
                    <a:pt x="211931" y="61417"/>
                  </a:lnTo>
                  <a:cubicBezTo>
                    <a:pt x="200025" y="63779"/>
                    <a:pt x="185738" y="70866"/>
                    <a:pt x="171450" y="75590"/>
                  </a:cubicBezTo>
                  <a:close/>
                  <a:moveTo>
                    <a:pt x="257175" y="51968"/>
                  </a:moveTo>
                  <a:lnTo>
                    <a:pt x="250031" y="4724"/>
                  </a:lnTo>
                  <a:cubicBezTo>
                    <a:pt x="266700" y="2362"/>
                    <a:pt x="283369" y="0"/>
                    <a:pt x="300038" y="0"/>
                  </a:cubicBezTo>
                  <a:lnTo>
                    <a:pt x="302419" y="47244"/>
                  </a:lnTo>
                  <a:cubicBezTo>
                    <a:pt x="288131" y="47244"/>
                    <a:pt x="271463" y="49606"/>
                    <a:pt x="257175" y="51968"/>
                  </a:cubicBezTo>
                  <a:close/>
                </a:path>
              </a:pathLst>
            </a:custGeom>
            <a:solidFill>
              <a:schemeClr val="tx2"/>
            </a:solidFill>
            <a:ln w="23813" cap="flat">
              <a:noFill/>
              <a:prstDash val="solid"/>
              <a:miter/>
            </a:ln>
          </p:spPr>
          <p:txBody>
            <a:bodyPr rtlCol="0" anchor="ctr"/>
            <a:lstStyle/>
            <a:p>
              <a:endParaRPr lang="en-US"/>
            </a:p>
          </p:txBody>
        </p:sp>
        <p:grpSp>
          <p:nvGrpSpPr>
            <p:cNvPr id="59" name="Graphic 4">
              <a:extLst>
                <a:ext uri="{FF2B5EF4-FFF2-40B4-BE49-F238E27FC236}">
                  <a16:creationId xmlns:a16="http://schemas.microsoft.com/office/drawing/2014/main" id="{02000FC2-066F-7136-2A9B-0934A31166FE}"/>
                </a:ext>
              </a:extLst>
            </p:cNvPr>
            <p:cNvGrpSpPr/>
            <p:nvPr/>
          </p:nvGrpSpPr>
          <p:grpSpPr>
            <a:xfrm>
              <a:off x="5342690" y="1364360"/>
              <a:ext cx="359568" cy="155905"/>
              <a:chOff x="5342690" y="1364360"/>
              <a:chExt cx="359568" cy="155905"/>
            </a:xfrm>
            <a:solidFill>
              <a:schemeClr val="tx2"/>
            </a:solidFill>
          </p:grpSpPr>
          <p:grpSp>
            <p:nvGrpSpPr>
              <p:cNvPr id="66" name="Graphic 4">
                <a:extLst>
                  <a:ext uri="{FF2B5EF4-FFF2-40B4-BE49-F238E27FC236}">
                    <a16:creationId xmlns:a16="http://schemas.microsoft.com/office/drawing/2014/main" id="{E39D7D6F-7B65-7D90-12A6-82C4A48B7BC8}"/>
                  </a:ext>
                </a:extLst>
              </p:cNvPr>
              <p:cNvGrpSpPr/>
              <p:nvPr/>
            </p:nvGrpSpPr>
            <p:grpSpPr>
              <a:xfrm>
                <a:off x="5540334" y="1364360"/>
                <a:ext cx="161924" cy="155905"/>
                <a:chOff x="5540334" y="1364360"/>
                <a:chExt cx="161924" cy="155905"/>
              </a:xfrm>
              <a:solidFill>
                <a:schemeClr val="tx2"/>
              </a:solidFill>
            </p:grpSpPr>
            <p:sp>
              <p:nvSpPr>
                <p:cNvPr id="78" name="Freeform: Shape 77">
                  <a:extLst>
                    <a:ext uri="{FF2B5EF4-FFF2-40B4-BE49-F238E27FC236}">
                      <a16:creationId xmlns:a16="http://schemas.microsoft.com/office/drawing/2014/main" id="{F897C1FD-899C-24B4-8B08-550B8DD181C4}"/>
                    </a:ext>
                  </a:extLst>
                </p:cNvPr>
                <p:cNvSpPr/>
                <p:nvPr/>
              </p:nvSpPr>
              <p:spPr>
                <a:xfrm>
                  <a:off x="5568909" y="1364360"/>
                  <a:ext cx="102393" cy="99212"/>
                </a:xfrm>
                <a:custGeom>
                  <a:avLst/>
                  <a:gdLst>
                    <a:gd name="connsiteX0" fmla="*/ 52388 w 102393"/>
                    <a:gd name="connsiteY0" fmla="*/ 0 h 99212"/>
                    <a:gd name="connsiteX1" fmla="*/ 0 w 102393"/>
                    <a:gd name="connsiteY1" fmla="*/ 49606 h 99212"/>
                    <a:gd name="connsiteX2" fmla="*/ 52388 w 102393"/>
                    <a:gd name="connsiteY2" fmla="*/ 99213 h 99212"/>
                    <a:gd name="connsiteX3" fmla="*/ 102394 w 102393"/>
                    <a:gd name="connsiteY3" fmla="*/ 49606 h 99212"/>
                    <a:gd name="connsiteX4" fmla="*/ 52388 w 102393"/>
                    <a:gd name="connsiteY4" fmla="*/ 0 h 99212"/>
                    <a:gd name="connsiteX5" fmla="*/ 52388 w 102393"/>
                    <a:gd name="connsiteY5" fmla="*/ 59055 h 99212"/>
                    <a:gd name="connsiteX6" fmla="*/ 42863 w 102393"/>
                    <a:gd name="connsiteY6" fmla="*/ 49606 h 99212"/>
                    <a:gd name="connsiteX7" fmla="*/ 52388 w 102393"/>
                    <a:gd name="connsiteY7" fmla="*/ 40157 h 99212"/>
                    <a:gd name="connsiteX8" fmla="*/ 61913 w 102393"/>
                    <a:gd name="connsiteY8" fmla="*/ 49606 h 99212"/>
                    <a:gd name="connsiteX9" fmla="*/ 52388 w 102393"/>
                    <a:gd name="connsiteY9" fmla="*/ 59055 h 9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393" h="99212">
                      <a:moveTo>
                        <a:pt x="52388" y="0"/>
                      </a:moveTo>
                      <a:cubicBezTo>
                        <a:pt x="23813" y="0"/>
                        <a:pt x="0" y="23622"/>
                        <a:pt x="0" y="49606"/>
                      </a:cubicBezTo>
                      <a:cubicBezTo>
                        <a:pt x="0" y="77953"/>
                        <a:pt x="23813" y="99213"/>
                        <a:pt x="52388" y="99213"/>
                      </a:cubicBezTo>
                      <a:cubicBezTo>
                        <a:pt x="80962" y="99213"/>
                        <a:pt x="102394" y="75591"/>
                        <a:pt x="102394" y="49606"/>
                      </a:cubicBezTo>
                      <a:cubicBezTo>
                        <a:pt x="102394" y="21260"/>
                        <a:pt x="80962" y="0"/>
                        <a:pt x="52388" y="0"/>
                      </a:cubicBezTo>
                      <a:close/>
                      <a:moveTo>
                        <a:pt x="52388" y="59055"/>
                      </a:moveTo>
                      <a:cubicBezTo>
                        <a:pt x="47625" y="59055"/>
                        <a:pt x="42863" y="54331"/>
                        <a:pt x="42863" y="49606"/>
                      </a:cubicBezTo>
                      <a:cubicBezTo>
                        <a:pt x="42863" y="44882"/>
                        <a:pt x="47625" y="40157"/>
                        <a:pt x="52388" y="40157"/>
                      </a:cubicBezTo>
                      <a:cubicBezTo>
                        <a:pt x="57150" y="40157"/>
                        <a:pt x="61913" y="44882"/>
                        <a:pt x="61913" y="49606"/>
                      </a:cubicBezTo>
                      <a:cubicBezTo>
                        <a:pt x="61913" y="54331"/>
                        <a:pt x="57150" y="59055"/>
                        <a:pt x="52388" y="59055"/>
                      </a:cubicBezTo>
                      <a:close/>
                    </a:path>
                  </a:pathLst>
                </a:custGeom>
                <a:solidFill>
                  <a:schemeClr val="tx2"/>
                </a:solidFill>
                <a:ln w="23813"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5729C085-3F9E-A92F-2E7F-62E103D12A02}"/>
                    </a:ext>
                  </a:extLst>
                </p:cNvPr>
                <p:cNvSpPr/>
                <p:nvPr/>
              </p:nvSpPr>
              <p:spPr>
                <a:xfrm>
                  <a:off x="5540334" y="1454124"/>
                  <a:ext cx="38099" cy="63779"/>
                </a:xfrm>
                <a:custGeom>
                  <a:avLst/>
                  <a:gdLst>
                    <a:gd name="connsiteX0" fmla="*/ 4762 w 38099"/>
                    <a:gd name="connsiteY0" fmla="*/ 18898 h 63779"/>
                    <a:gd name="connsiteX1" fmla="*/ 38100 w 38099"/>
                    <a:gd name="connsiteY1" fmla="*/ 63780 h 63779"/>
                    <a:gd name="connsiteX2" fmla="*/ 0 w 38099"/>
                    <a:gd name="connsiteY2" fmla="*/ 63780 h 63779"/>
                    <a:gd name="connsiteX3" fmla="*/ 0 w 38099"/>
                    <a:gd name="connsiteY3" fmla="*/ 0 h 63779"/>
                    <a:gd name="connsiteX4" fmla="*/ 28575 w 38099"/>
                    <a:gd name="connsiteY4" fmla="*/ 0 h 6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99" h="63779">
                      <a:moveTo>
                        <a:pt x="4762" y="18898"/>
                      </a:moveTo>
                      <a:lnTo>
                        <a:pt x="38100" y="63780"/>
                      </a:lnTo>
                      <a:lnTo>
                        <a:pt x="0" y="63780"/>
                      </a:lnTo>
                      <a:lnTo>
                        <a:pt x="0" y="0"/>
                      </a:lnTo>
                      <a:lnTo>
                        <a:pt x="28575" y="0"/>
                      </a:lnTo>
                      <a:close/>
                    </a:path>
                  </a:pathLst>
                </a:custGeom>
                <a:solidFill>
                  <a:schemeClr val="tx2"/>
                </a:solidFill>
                <a:ln w="23813"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BDABB013-3963-2FF9-2831-3FF5163B07CE}"/>
                    </a:ext>
                  </a:extLst>
                </p:cNvPr>
                <p:cNvSpPr/>
                <p:nvPr/>
              </p:nvSpPr>
              <p:spPr>
                <a:xfrm>
                  <a:off x="5578434" y="1517904"/>
                  <a:ext cx="2381" cy="2362"/>
                </a:xfrm>
                <a:custGeom>
                  <a:avLst/>
                  <a:gdLst>
                    <a:gd name="connsiteX0" fmla="*/ 2381 w 2381"/>
                    <a:gd name="connsiteY0" fmla="*/ 2362 h 2362"/>
                    <a:gd name="connsiteX1" fmla="*/ 0 w 2381"/>
                    <a:gd name="connsiteY1" fmla="*/ 0 h 2362"/>
                    <a:gd name="connsiteX2" fmla="*/ 0 w 2381"/>
                    <a:gd name="connsiteY2" fmla="*/ 0 h 2362"/>
                  </a:gdLst>
                  <a:ahLst/>
                  <a:cxnLst>
                    <a:cxn ang="0">
                      <a:pos x="connsiteX0" y="connsiteY0"/>
                    </a:cxn>
                    <a:cxn ang="0">
                      <a:pos x="connsiteX1" y="connsiteY1"/>
                    </a:cxn>
                    <a:cxn ang="0">
                      <a:pos x="connsiteX2" y="connsiteY2"/>
                    </a:cxn>
                  </a:cxnLst>
                  <a:rect l="l" t="t" r="r" b="b"/>
                  <a:pathLst>
                    <a:path w="2381" h="2362">
                      <a:moveTo>
                        <a:pt x="2381" y="2362"/>
                      </a:moveTo>
                      <a:lnTo>
                        <a:pt x="0" y="0"/>
                      </a:lnTo>
                      <a:lnTo>
                        <a:pt x="0" y="0"/>
                      </a:lnTo>
                      <a:close/>
                    </a:path>
                  </a:pathLst>
                </a:custGeom>
                <a:solidFill>
                  <a:schemeClr val="tx2"/>
                </a:solidFill>
                <a:ln w="23813"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4439A0DA-6F66-E14E-9BCC-39D7263F3DB0}"/>
                    </a:ext>
                  </a:extLst>
                </p:cNvPr>
                <p:cNvSpPr/>
                <p:nvPr/>
              </p:nvSpPr>
              <p:spPr>
                <a:xfrm>
                  <a:off x="5661778" y="1517904"/>
                  <a:ext cx="2381" cy="2362"/>
                </a:xfrm>
                <a:custGeom>
                  <a:avLst/>
                  <a:gdLst>
                    <a:gd name="connsiteX0" fmla="*/ 2381 w 2381"/>
                    <a:gd name="connsiteY0" fmla="*/ 0 h 2362"/>
                    <a:gd name="connsiteX1" fmla="*/ 2381 w 2381"/>
                    <a:gd name="connsiteY1" fmla="*/ 0 h 2362"/>
                    <a:gd name="connsiteX2" fmla="*/ 0 w 2381"/>
                    <a:gd name="connsiteY2" fmla="*/ 2362 h 2362"/>
                  </a:gdLst>
                  <a:ahLst/>
                  <a:cxnLst>
                    <a:cxn ang="0">
                      <a:pos x="connsiteX0" y="connsiteY0"/>
                    </a:cxn>
                    <a:cxn ang="0">
                      <a:pos x="connsiteX1" y="connsiteY1"/>
                    </a:cxn>
                    <a:cxn ang="0">
                      <a:pos x="connsiteX2" y="connsiteY2"/>
                    </a:cxn>
                  </a:cxnLst>
                  <a:rect l="l" t="t" r="r" b="b"/>
                  <a:pathLst>
                    <a:path w="2381" h="2362">
                      <a:moveTo>
                        <a:pt x="2381" y="0"/>
                      </a:moveTo>
                      <a:lnTo>
                        <a:pt x="2381" y="0"/>
                      </a:lnTo>
                      <a:lnTo>
                        <a:pt x="0" y="2362"/>
                      </a:lnTo>
                      <a:close/>
                    </a:path>
                  </a:pathLst>
                </a:custGeom>
                <a:solidFill>
                  <a:schemeClr val="tx2"/>
                </a:solidFill>
                <a:ln w="23813"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BD2E91CF-DED1-ECF0-52F7-CF5D4F2B3119}"/>
                    </a:ext>
                  </a:extLst>
                </p:cNvPr>
                <p:cNvSpPr/>
                <p:nvPr/>
              </p:nvSpPr>
              <p:spPr>
                <a:xfrm>
                  <a:off x="5664159" y="1454124"/>
                  <a:ext cx="38100" cy="63779"/>
                </a:xfrm>
                <a:custGeom>
                  <a:avLst/>
                  <a:gdLst>
                    <a:gd name="connsiteX0" fmla="*/ 38100 w 38100"/>
                    <a:gd name="connsiteY0" fmla="*/ 0 h 63779"/>
                    <a:gd name="connsiteX1" fmla="*/ 38100 w 38100"/>
                    <a:gd name="connsiteY1" fmla="*/ 63780 h 63779"/>
                    <a:gd name="connsiteX2" fmla="*/ 0 w 38100"/>
                    <a:gd name="connsiteY2" fmla="*/ 63780 h 63779"/>
                    <a:gd name="connsiteX3" fmla="*/ 33337 w 38100"/>
                    <a:gd name="connsiteY3" fmla="*/ 18898 h 63779"/>
                    <a:gd name="connsiteX4" fmla="*/ 9525 w 38100"/>
                    <a:gd name="connsiteY4" fmla="*/ 0 h 6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63779">
                      <a:moveTo>
                        <a:pt x="38100" y="0"/>
                      </a:moveTo>
                      <a:lnTo>
                        <a:pt x="38100" y="63780"/>
                      </a:lnTo>
                      <a:lnTo>
                        <a:pt x="0" y="63780"/>
                      </a:lnTo>
                      <a:lnTo>
                        <a:pt x="33337" y="18898"/>
                      </a:lnTo>
                      <a:lnTo>
                        <a:pt x="9525" y="0"/>
                      </a:lnTo>
                      <a:close/>
                    </a:path>
                  </a:pathLst>
                </a:custGeom>
                <a:solidFill>
                  <a:schemeClr val="tx2"/>
                </a:solidFill>
                <a:ln w="23813"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6FE47BF0-0576-387B-93F0-D88DCA12D133}"/>
                    </a:ext>
                  </a:extLst>
                </p:cNvPr>
                <p:cNvSpPr/>
                <p:nvPr/>
              </p:nvSpPr>
              <p:spPr>
                <a:xfrm>
                  <a:off x="5580815" y="1454124"/>
                  <a:ext cx="80962" cy="63779"/>
                </a:xfrm>
                <a:custGeom>
                  <a:avLst/>
                  <a:gdLst>
                    <a:gd name="connsiteX0" fmla="*/ 80962 w 80962"/>
                    <a:gd name="connsiteY0" fmla="*/ 0 h 63779"/>
                    <a:gd name="connsiteX1" fmla="*/ 80962 w 80962"/>
                    <a:gd name="connsiteY1" fmla="*/ 63780 h 63779"/>
                    <a:gd name="connsiteX2" fmla="*/ 0 w 80962"/>
                    <a:gd name="connsiteY2" fmla="*/ 63780 h 63779"/>
                    <a:gd name="connsiteX3" fmla="*/ 0 w 80962"/>
                    <a:gd name="connsiteY3" fmla="*/ 0 h 63779"/>
                    <a:gd name="connsiteX4" fmla="*/ 40481 w 80962"/>
                    <a:gd name="connsiteY4" fmla="*/ 54331 h 6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 h="63779">
                      <a:moveTo>
                        <a:pt x="80962" y="0"/>
                      </a:moveTo>
                      <a:lnTo>
                        <a:pt x="80962" y="63780"/>
                      </a:lnTo>
                      <a:lnTo>
                        <a:pt x="0" y="63780"/>
                      </a:lnTo>
                      <a:lnTo>
                        <a:pt x="0" y="0"/>
                      </a:lnTo>
                      <a:lnTo>
                        <a:pt x="40481" y="54331"/>
                      </a:lnTo>
                      <a:close/>
                    </a:path>
                  </a:pathLst>
                </a:custGeom>
                <a:solidFill>
                  <a:schemeClr val="tx2"/>
                </a:solidFill>
                <a:ln w="23813"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DC0D4D3B-1756-E863-2D2E-201A21D593E2}"/>
                    </a:ext>
                  </a:extLst>
                </p:cNvPr>
                <p:cNvSpPr/>
                <p:nvPr/>
              </p:nvSpPr>
              <p:spPr>
                <a:xfrm>
                  <a:off x="5545096" y="1454124"/>
                  <a:ext cx="35718" cy="66141"/>
                </a:xfrm>
                <a:custGeom>
                  <a:avLst/>
                  <a:gdLst>
                    <a:gd name="connsiteX0" fmla="*/ 35719 w 35718"/>
                    <a:gd name="connsiteY0" fmla="*/ 0 h 66141"/>
                    <a:gd name="connsiteX1" fmla="*/ 35719 w 35718"/>
                    <a:gd name="connsiteY1" fmla="*/ 66142 h 66141"/>
                    <a:gd name="connsiteX2" fmla="*/ 33337 w 35718"/>
                    <a:gd name="connsiteY2" fmla="*/ 63780 h 66141"/>
                    <a:gd name="connsiteX3" fmla="*/ 0 w 35718"/>
                    <a:gd name="connsiteY3" fmla="*/ 18898 h 66141"/>
                    <a:gd name="connsiteX4" fmla="*/ 23813 w 35718"/>
                    <a:gd name="connsiteY4" fmla="*/ 0 h 66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18" h="66141">
                      <a:moveTo>
                        <a:pt x="35719" y="0"/>
                      </a:moveTo>
                      <a:lnTo>
                        <a:pt x="35719" y="66142"/>
                      </a:lnTo>
                      <a:lnTo>
                        <a:pt x="33337" y="63780"/>
                      </a:lnTo>
                      <a:lnTo>
                        <a:pt x="0" y="18898"/>
                      </a:lnTo>
                      <a:lnTo>
                        <a:pt x="23813" y="0"/>
                      </a:lnTo>
                      <a:close/>
                    </a:path>
                  </a:pathLst>
                </a:custGeom>
                <a:solidFill>
                  <a:schemeClr val="tx2"/>
                </a:solidFill>
                <a:ln w="2381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F61A8A9-9CE7-EA78-E8CC-8CA09DAF2FE1}"/>
                    </a:ext>
                  </a:extLst>
                </p:cNvPr>
                <p:cNvSpPr/>
                <p:nvPr/>
              </p:nvSpPr>
              <p:spPr>
                <a:xfrm>
                  <a:off x="5661778" y="1454124"/>
                  <a:ext cx="35718" cy="66141"/>
                </a:xfrm>
                <a:custGeom>
                  <a:avLst/>
                  <a:gdLst>
                    <a:gd name="connsiteX0" fmla="*/ 35719 w 35718"/>
                    <a:gd name="connsiteY0" fmla="*/ 18898 h 66141"/>
                    <a:gd name="connsiteX1" fmla="*/ 2381 w 35718"/>
                    <a:gd name="connsiteY1" fmla="*/ 63780 h 66141"/>
                    <a:gd name="connsiteX2" fmla="*/ 0 w 35718"/>
                    <a:gd name="connsiteY2" fmla="*/ 66142 h 66141"/>
                    <a:gd name="connsiteX3" fmla="*/ 0 w 35718"/>
                    <a:gd name="connsiteY3" fmla="*/ 0 h 66141"/>
                    <a:gd name="connsiteX4" fmla="*/ 0 w 35718"/>
                    <a:gd name="connsiteY4" fmla="*/ 0 h 66141"/>
                    <a:gd name="connsiteX5" fmla="*/ 11906 w 35718"/>
                    <a:gd name="connsiteY5" fmla="*/ 0 h 6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 h="66141">
                      <a:moveTo>
                        <a:pt x="35719" y="18898"/>
                      </a:moveTo>
                      <a:lnTo>
                        <a:pt x="2381" y="63780"/>
                      </a:lnTo>
                      <a:lnTo>
                        <a:pt x="0" y="66142"/>
                      </a:lnTo>
                      <a:lnTo>
                        <a:pt x="0" y="0"/>
                      </a:lnTo>
                      <a:lnTo>
                        <a:pt x="0" y="0"/>
                      </a:lnTo>
                      <a:lnTo>
                        <a:pt x="11906" y="0"/>
                      </a:lnTo>
                      <a:close/>
                    </a:path>
                  </a:pathLst>
                </a:custGeom>
                <a:solidFill>
                  <a:schemeClr val="tx2"/>
                </a:solidFill>
                <a:ln w="2381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4DAC4326-36C4-DD19-6E84-235CF05ACDBC}"/>
                    </a:ext>
                  </a:extLst>
                </p:cNvPr>
                <p:cNvSpPr/>
                <p:nvPr/>
              </p:nvSpPr>
              <p:spPr>
                <a:xfrm>
                  <a:off x="5661778" y="1517904"/>
                  <a:ext cx="2381" cy="2362"/>
                </a:xfrm>
                <a:custGeom>
                  <a:avLst/>
                  <a:gdLst>
                    <a:gd name="connsiteX0" fmla="*/ 2381 w 2381"/>
                    <a:gd name="connsiteY0" fmla="*/ 0 h 2362"/>
                    <a:gd name="connsiteX1" fmla="*/ 0 w 2381"/>
                    <a:gd name="connsiteY1" fmla="*/ 2362 h 2362"/>
                    <a:gd name="connsiteX2" fmla="*/ 0 w 2381"/>
                    <a:gd name="connsiteY2" fmla="*/ 0 h 2362"/>
                  </a:gdLst>
                  <a:ahLst/>
                  <a:cxnLst>
                    <a:cxn ang="0">
                      <a:pos x="connsiteX0" y="connsiteY0"/>
                    </a:cxn>
                    <a:cxn ang="0">
                      <a:pos x="connsiteX1" y="connsiteY1"/>
                    </a:cxn>
                    <a:cxn ang="0">
                      <a:pos x="connsiteX2" y="connsiteY2"/>
                    </a:cxn>
                  </a:cxnLst>
                  <a:rect l="l" t="t" r="r" b="b"/>
                  <a:pathLst>
                    <a:path w="2381" h="2362">
                      <a:moveTo>
                        <a:pt x="2381" y="0"/>
                      </a:moveTo>
                      <a:lnTo>
                        <a:pt x="0" y="2362"/>
                      </a:lnTo>
                      <a:lnTo>
                        <a:pt x="0" y="0"/>
                      </a:lnTo>
                      <a:close/>
                    </a:path>
                  </a:pathLst>
                </a:custGeom>
                <a:solidFill>
                  <a:schemeClr val="tx2"/>
                </a:solidFill>
                <a:ln w="2381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BD073DE-3B21-9336-1015-AC28DFA0EC90}"/>
                    </a:ext>
                  </a:extLst>
                </p:cNvPr>
                <p:cNvSpPr/>
                <p:nvPr/>
              </p:nvSpPr>
              <p:spPr>
                <a:xfrm>
                  <a:off x="5578434" y="1517904"/>
                  <a:ext cx="2381" cy="2362"/>
                </a:xfrm>
                <a:custGeom>
                  <a:avLst/>
                  <a:gdLst>
                    <a:gd name="connsiteX0" fmla="*/ 2381 w 2381"/>
                    <a:gd name="connsiteY0" fmla="*/ 2362 h 2362"/>
                    <a:gd name="connsiteX1" fmla="*/ 0 w 2381"/>
                    <a:gd name="connsiteY1" fmla="*/ 0 h 2362"/>
                    <a:gd name="connsiteX2" fmla="*/ 2381 w 2381"/>
                    <a:gd name="connsiteY2" fmla="*/ 0 h 2362"/>
                  </a:gdLst>
                  <a:ahLst/>
                  <a:cxnLst>
                    <a:cxn ang="0">
                      <a:pos x="connsiteX0" y="connsiteY0"/>
                    </a:cxn>
                    <a:cxn ang="0">
                      <a:pos x="connsiteX1" y="connsiteY1"/>
                    </a:cxn>
                    <a:cxn ang="0">
                      <a:pos x="connsiteX2" y="connsiteY2"/>
                    </a:cxn>
                  </a:cxnLst>
                  <a:rect l="l" t="t" r="r" b="b"/>
                  <a:pathLst>
                    <a:path w="2381" h="2362">
                      <a:moveTo>
                        <a:pt x="2381" y="2362"/>
                      </a:moveTo>
                      <a:lnTo>
                        <a:pt x="0" y="0"/>
                      </a:lnTo>
                      <a:lnTo>
                        <a:pt x="2381" y="0"/>
                      </a:lnTo>
                      <a:close/>
                    </a:path>
                  </a:pathLst>
                </a:custGeom>
                <a:solidFill>
                  <a:schemeClr val="tx2"/>
                </a:solidFill>
                <a:ln w="23813" cap="flat">
                  <a:noFill/>
                  <a:prstDash val="solid"/>
                  <a:miter/>
                </a:ln>
              </p:spPr>
              <p:txBody>
                <a:bodyPr rtlCol="0" anchor="ctr"/>
                <a:lstStyle/>
                <a:p>
                  <a:endParaRPr lang="en-US"/>
                </a:p>
              </p:txBody>
            </p:sp>
          </p:grpSp>
          <p:grpSp>
            <p:nvGrpSpPr>
              <p:cNvPr id="67" name="Graphic 4">
                <a:extLst>
                  <a:ext uri="{FF2B5EF4-FFF2-40B4-BE49-F238E27FC236}">
                    <a16:creationId xmlns:a16="http://schemas.microsoft.com/office/drawing/2014/main" id="{E7742800-B9AA-5F8E-5F9D-0C6DCC9177E5}"/>
                  </a:ext>
                </a:extLst>
              </p:cNvPr>
              <p:cNvGrpSpPr/>
              <p:nvPr/>
            </p:nvGrpSpPr>
            <p:grpSpPr>
              <a:xfrm>
                <a:off x="5342690" y="1364360"/>
                <a:ext cx="161925" cy="155905"/>
                <a:chOff x="5342690" y="1364360"/>
                <a:chExt cx="161925" cy="155905"/>
              </a:xfrm>
              <a:solidFill>
                <a:schemeClr val="tx2"/>
              </a:solidFill>
            </p:grpSpPr>
            <p:sp>
              <p:nvSpPr>
                <p:cNvPr id="68" name="Freeform: Shape 67">
                  <a:extLst>
                    <a:ext uri="{FF2B5EF4-FFF2-40B4-BE49-F238E27FC236}">
                      <a16:creationId xmlns:a16="http://schemas.microsoft.com/office/drawing/2014/main" id="{5738888F-5CA3-82A5-B59E-EEC11E8B52CF}"/>
                    </a:ext>
                  </a:extLst>
                </p:cNvPr>
                <p:cNvSpPr/>
                <p:nvPr/>
              </p:nvSpPr>
              <p:spPr>
                <a:xfrm>
                  <a:off x="5371265" y="1364360"/>
                  <a:ext cx="102393" cy="99212"/>
                </a:xfrm>
                <a:custGeom>
                  <a:avLst/>
                  <a:gdLst>
                    <a:gd name="connsiteX0" fmla="*/ 52387 w 102393"/>
                    <a:gd name="connsiteY0" fmla="*/ 0 h 99212"/>
                    <a:gd name="connsiteX1" fmla="*/ 0 w 102393"/>
                    <a:gd name="connsiteY1" fmla="*/ 49606 h 99212"/>
                    <a:gd name="connsiteX2" fmla="*/ 52387 w 102393"/>
                    <a:gd name="connsiteY2" fmla="*/ 99213 h 99212"/>
                    <a:gd name="connsiteX3" fmla="*/ 102394 w 102393"/>
                    <a:gd name="connsiteY3" fmla="*/ 49606 h 99212"/>
                    <a:gd name="connsiteX4" fmla="*/ 52387 w 102393"/>
                    <a:gd name="connsiteY4" fmla="*/ 0 h 99212"/>
                    <a:gd name="connsiteX5" fmla="*/ 52387 w 102393"/>
                    <a:gd name="connsiteY5" fmla="*/ 59055 h 99212"/>
                    <a:gd name="connsiteX6" fmla="*/ 42862 w 102393"/>
                    <a:gd name="connsiteY6" fmla="*/ 49606 h 99212"/>
                    <a:gd name="connsiteX7" fmla="*/ 52387 w 102393"/>
                    <a:gd name="connsiteY7" fmla="*/ 40157 h 99212"/>
                    <a:gd name="connsiteX8" fmla="*/ 61913 w 102393"/>
                    <a:gd name="connsiteY8" fmla="*/ 49606 h 99212"/>
                    <a:gd name="connsiteX9" fmla="*/ 52387 w 102393"/>
                    <a:gd name="connsiteY9" fmla="*/ 59055 h 9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393" h="99212">
                      <a:moveTo>
                        <a:pt x="52387" y="0"/>
                      </a:moveTo>
                      <a:cubicBezTo>
                        <a:pt x="23813" y="0"/>
                        <a:pt x="0" y="23622"/>
                        <a:pt x="0" y="49606"/>
                      </a:cubicBezTo>
                      <a:cubicBezTo>
                        <a:pt x="0" y="77953"/>
                        <a:pt x="23813" y="99213"/>
                        <a:pt x="52387" y="99213"/>
                      </a:cubicBezTo>
                      <a:cubicBezTo>
                        <a:pt x="80962" y="99213"/>
                        <a:pt x="102394" y="75591"/>
                        <a:pt x="102394" y="49606"/>
                      </a:cubicBezTo>
                      <a:cubicBezTo>
                        <a:pt x="102394" y="21260"/>
                        <a:pt x="80962" y="0"/>
                        <a:pt x="52387" y="0"/>
                      </a:cubicBezTo>
                      <a:close/>
                      <a:moveTo>
                        <a:pt x="52387" y="59055"/>
                      </a:moveTo>
                      <a:cubicBezTo>
                        <a:pt x="47625" y="59055"/>
                        <a:pt x="42862" y="54331"/>
                        <a:pt x="42862" y="49606"/>
                      </a:cubicBezTo>
                      <a:cubicBezTo>
                        <a:pt x="42862" y="44882"/>
                        <a:pt x="47625" y="40157"/>
                        <a:pt x="52387" y="40157"/>
                      </a:cubicBezTo>
                      <a:cubicBezTo>
                        <a:pt x="57150" y="40157"/>
                        <a:pt x="61913" y="44882"/>
                        <a:pt x="61913" y="49606"/>
                      </a:cubicBezTo>
                      <a:cubicBezTo>
                        <a:pt x="61913" y="54331"/>
                        <a:pt x="57150" y="59055"/>
                        <a:pt x="52387" y="59055"/>
                      </a:cubicBezTo>
                      <a:close/>
                    </a:path>
                  </a:pathLst>
                </a:custGeom>
                <a:solidFill>
                  <a:schemeClr val="tx2"/>
                </a:solidFill>
                <a:ln w="23813"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87BCEFE4-4E7D-E171-7E07-6F8DD306E7F8}"/>
                    </a:ext>
                  </a:extLst>
                </p:cNvPr>
                <p:cNvSpPr/>
                <p:nvPr/>
              </p:nvSpPr>
              <p:spPr>
                <a:xfrm>
                  <a:off x="5342690" y="1454124"/>
                  <a:ext cx="38100" cy="63779"/>
                </a:xfrm>
                <a:custGeom>
                  <a:avLst/>
                  <a:gdLst>
                    <a:gd name="connsiteX0" fmla="*/ 2381 w 38100"/>
                    <a:gd name="connsiteY0" fmla="*/ 18898 h 63779"/>
                    <a:gd name="connsiteX1" fmla="*/ 38100 w 38100"/>
                    <a:gd name="connsiteY1" fmla="*/ 63780 h 63779"/>
                    <a:gd name="connsiteX2" fmla="*/ 0 w 38100"/>
                    <a:gd name="connsiteY2" fmla="*/ 63780 h 63779"/>
                    <a:gd name="connsiteX3" fmla="*/ 0 w 38100"/>
                    <a:gd name="connsiteY3" fmla="*/ 0 h 63779"/>
                    <a:gd name="connsiteX4" fmla="*/ 28575 w 38100"/>
                    <a:gd name="connsiteY4" fmla="*/ 0 h 6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63779">
                      <a:moveTo>
                        <a:pt x="2381" y="18898"/>
                      </a:moveTo>
                      <a:lnTo>
                        <a:pt x="38100" y="63780"/>
                      </a:lnTo>
                      <a:lnTo>
                        <a:pt x="0" y="63780"/>
                      </a:lnTo>
                      <a:lnTo>
                        <a:pt x="0" y="0"/>
                      </a:lnTo>
                      <a:lnTo>
                        <a:pt x="28575" y="0"/>
                      </a:lnTo>
                      <a:close/>
                    </a:path>
                  </a:pathLst>
                </a:custGeom>
                <a:solidFill>
                  <a:schemeClr val="tx2"/>
                </a:solidFill>
                <a:ln w="23813"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61460FC-03F2-C058-5857-C134241E9B32}"/>
                    </a:ext>
                  </a:extLst>
                </p:cNvPr>
                <p:cNvSpPr/>
                <p:nvPr/>
              </p:nvSpPr>
              <p:spPr>
                <a:xfrm>
                  <a:off x="5380790" y="1517904"/>
                  <a:ext cx="2381" cy="2362"/>
                </a:xfrm>
                <a:custGeom>
                  <a:avLst/>
                  <a:gdLst>
                    <a:gd name="connsiteX0" fmla="*/ 2381 w 2381"/>
                    <a:gd name="connsiteY0" fmla="*/ 2362 h 2362"/>
                    <a:gd name="connsiteX1" fmla="*/ 0 w 2381"/>
                    <a:gd name="connsiteY1" fmla="*/ 0 h 2362"/>
                    <a:gd name="connsiteX2" fmla="*/ 0 w 2381"/>
                    <a:gd name="connsiteY2" fmla="*/ 0 h 2362"/>
                  </a:gdLst>
                  <a:ahLst/>
                  <a:cxnLst>
                    <a:cxn ang="0">
                      <a:pos x="connsiteX0" y="connsiteY0"/>
                    </a:cxn>
                    <a:cxn ang="0">
                      <a:pos x="connsiteX1" y="connsiteY1"/>
                    </a:cxn>
                    <a:cxn ang="0">
                      <a:pos x="connsiteX2" y="connsiteY2"/>
                    </a:cxn>
                  </a:cxnLst>
                  <a:rect l="l" t="t" r="r" b="b"/>
                  <a:pathLst>
                    <a:path w="2381" h="2362">
                      <a:moveTo>
                        <a:pt x="2381" y="2362"/>
                      </a:moveTo>
                      <a:lnTo>
                        <a:pt x="0" y="0"/>
                      </a:lnTo>
                      <a:lnTo>
                        <a:pt x="0" y="0"/>
                      </a:lnTo>
                      <a:close/>
                    </a:path>
                  </a:pathLst>
                </a:custGeom>
                <a:solidFill>
                  <a:schemeClr val="tx2"/>
                </a:solidFill>
                <a:ln w="23813"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3559EE14-5E28-7685-9692-3A99746BCE87}"/>
                    </a:ext>
                  </a:extLst>
                </p:cNvPr>
                <p:cNvSpPr/>
                <p:nvPr/>
              </p:nvSpPr>
              <p:spPr>
                <a:xfrm>
                  <a:off x="5464134" y="1517904"/>
                  <a:ext cx="2381" cy="2362"/>
                </a:xfrm>
                <a:custGeom>
                  <a:avLst/>
                  <a:gdLst>
                    <a:gd name="connsiteX0" fmla="*/ 2381 w 2381"/>
                    <a:gd name="connsiteY0" fmla="*/ 0 h 2362"/>
                    <a:gd name="connsiteX1" fmla="*/ 2381 w 2381"/>
                    <a:gd name="connsiteY1" fmla="*/ 0 h 2362"/>
                    <a:gd name="connsiteX2" fmla="*/ 0 w 2381"/>
                    <a:gd name="connsiteY2" fmla="*/ 2362 h 2362"/>
                  </a:gdLst>
                  <a:ahLst/>
                  <a:cxnLst>
                    <a:cxn ang="0">
                      <a:pos x="connsiteX0" y="connsiteY0"/>
                    </a:cxn>
                    <a:cxn ang="0">
                      <a:pos x="connsiteX1" y="connsiteY1"/>
                    </a:cxn>
                    <a:cxn ang="0">
                      <a:pos x="connsiteX2" y="connsiteY2"/>
                    </a:cxn>
                  </a:cxnLst>
                  <a:rect l="l" t="t" r="r" b="b"/>
                  <a:pathLst>
                    <a:path w="2381" h="2362">
                      <a:moveTo>
                        <a:pt x="2381" y="0"/>
                      </a:moveTo>
                      <a:lnTo>
                        <a:pt x="2381" y="0"/>
                      </a:lnTo>
                      <a:lnTo>
                        <a:pt x="0" y="2362"/>
                      </a:lnTo>
                      <a:close/>
                    </a:path>
                  </a:pathLst>
                </a:custGeom>
                <a:solidFill>
                  <a:schemeClr val="tx2"/>
                </a:solidFill>
                <a:ln w="23813"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FA973DDE-D33B-E2C1-89B4-D0C99FDB3D45}"/>
                    </a:ext>
                  </a:extLst>
                </p:cNvPr>
                <p:cNvSpPr/>
                <p:nvPr/>
              </p:nvSpPr>
              <p:spPr>
                <a:xfrm>
                  <a:off x="5466515" y="1454124"/>
                  <a:ext cx="38100" cy="63779"/>
                </a:xfrm>
                <a:custGeom>
                  <a:avLst/>
                  <a:gdLst>
                    <a:gd name="connsiteX0" fmla="*/ 38100 w 38100"/>
                    <a:gd name="connsiteY0" fmla="*/ 0 h 63779"/>
                    <a:gd name="connsiteX1" fmla="*/ 38100 w 38100"/>
                    <a:gd name="connsiteY1" fmla="*/ 63780 h 63779"/>
                    <a:gd name="connsiteX2" fmla="*/ 0 w 38100"/>
                    <a:gd name="connsiteY2" fmla="*/ 63780 h 63779"/>
                    <a:gd name="connsiteX3" fmla="*/ 33337 w 38100"/>
                    <a:gd name="connsiteY3" fmla="*/ 18898 h 63779"/>
                    <a:gd name="connsiteX4" fmla="*/ 7144 w 38100"/>
                    <a:gd name="connsiteY4" fmla="*/ 0 h 6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63779">
                      <a:moveTo>
                        <a:pt x="38100" y="0"/>
                      </a:moveTo>
                      <a:lnTo>
                        <a:pt x="38100" y="63780"/>
                      </a:lnTo>
                      <a:lnTo>
                        <a:pt x="0" y="63780"/>
                      </a:lnTo>
                      <a:lnTo>
                        <a:pt x="33337" y="18898"/>
                      </a:lnTo>
                      <a:lnTo>
                        <a:pt x="7144" y="0"/>
                      </a:lnTo>
                      <a:close/>
                    </a:path>
                  </a:pathLst>
                </a:custGeom>
                <a:solidFill>
                  <a:schemeClr val="tx2"/>
                </a:solidFill>
                <a:ln w="23813"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145F9F1A-73AB-05A3-7849-C6A5082B5767}"/>
                    </a:ext>
                  </a:extLst>
                </p:cNvPr>
                <p:cNvSpPr/>
                <p:nvPr/>
              </p:nvSpPr>
              <p:spPr>
                <a:xfrm>
                  <a:off x="5383172" y="1454124"/>
                  <a:ext cx="80962" cy="63779"/>
                </a:xfrm>
                <a:custGeom>
                  <a:avLst/>
                  <a:gdLst>
                    <a:gd name="connsiteX0" fmla="*/ 80962 w 80962"/>
                    <a:gd name="connsiteY0" fmla="*/ 0 h 63779"/>
                    <a:gd name="connsiteX1" fmla="*/ 80962 w 80962"/>
                    <a:gd name="connsiteY1" fmla="*/ 63780 h 63779"/>
                    <a:gd name="connsiteX2" fmla="*/ 0 w 80962"/>
                    <a:gd name="connsiteY2" fmla="*/ 63780 h 63779"/>
                    <a:gd name="connsiteX3" fmla="*/ 0 w 80962"/>
                    <a:gd name="connsiteY3" fmla="*/ 0 h 63779"/>
                    <a:gd name="connsiteX4" fmla="*/ 40481 w 80962"/>
                    <a:gd name="connsiteY4" fmla="*/ 54331 h 6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 h="63779">
                      <a:moveTo>
                        <a:pt x="80962" y="0"/>
                      </a:moveTo>
                      <a:lnTo>
                        <a:pt x="80962" y="63780"/>
                      </a:lnTo>
                      <a:lnTo>
                        <a:pt x="0" y="63780"/>
                      </a:lnTo>
                      <a:lnTo>
                        <a:pt x="0" y="0"/>
                      </a:lnTo>
                      <a:lnTo>
                        <a:pt x="40481" y="54331"/>
                      </a:lnTo>
                      <a:close/>
                    </a:path>
                  </a:pathLst>
                </a:custGeom>
                <a:solidFill>
                  <a:schemeClr val="tx2"/>
                </a:solidFill>
                <a:ln w="23813"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BCA136F4-B448-6D96-7EE2-E1369A7210E0}"/>
                    </a:ext>
                  </a:extLst>
                </p:cNvPr>
                <p:cNvSpPr/>
                <p:nvPr/>
              </p:nvSpPr>
              <p:spPr>
                <a:xfrm>
                  <a:off x="5345072" y="1454124"/>
                  <a:ext cx="38100" cy="66141"/>
                </a:xfrm>
                <a:custGeom>
                  <a:avLst/>
                  <a:gdLst>
                    <a:gd name="connsiteX0" fmla="*/ 38100 w 38100"/>
                    <a:gd name="connsiteY0" fmla="*/ 0 h 66141"/>
                    <a:gd name="connsiteX1" fmla="*/ 38100 w 38100"/>
                    <a:gd name="connsiteY1" fmla="*/ 66142 h 66141"/>
                    <a:gd name="connsiteX2" fmla="*/ 35719 w 38100"/>
                    <a:gd name="connsiteY2" fmla="*/ 63780 h 66141"/>
                    <a:gd name="connsiteX3" fmla="*/ 0 w 38100"/>
                    <a:gd name="connsiteY3" fmla="*/ 18898 h 66141"/>
                    <a:gd name="connsiteX4" fmla="*/ 26194 w 38100"/>
                    <a:gd name="connsiteY4" fmla="*/ 0 h 66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66141">
                      <a:moveTo>
                        <a:pt x="38100" y="0"/>
                      </a:moveTo>
                      <a:lnTo>
                        <a:pt x="38100" y="66142"/>
                      </a:lnTo>
                      <a:lnTo>
                        <a:pt x="35719" y="63780"/>
                      </a:lnTo>
                      <a:lnTo>
                        <a:pt x="0" y="18898"/>
                      </a:lnTo>
                      <a:lnTo>
                        <a:pt x="26194" y="0"/>
                      </a:lnTo>
                      <a:close/>
                    </a:path>
                  </a:pathLst>
                </a:custGeom>
                <a:solidFill>
                  <a:schemeClr val="tx2"/>
                </a:solidFill>
                <a:ln w="23813"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65D0788E-0D7D-2A65-30B9-7E107D5C982D}"/>
                    </a:ext>
                  </a:extLst>
                </p:cNvPr>
                <p:cNvSpPr/>
                <p:nvPr/>
              </p:nvSpPr>
              <p:spPr>
                <a:xfrm>
                  <a:off x="5464134" y="1454124"/>
                  <a:ext cx="35718" cy="66141"/>
                </a:xfrm>
                <a:custGeom>
                  <a:avLst/>
                  <a:gdLst>
                    <a:gd name="connsiteX0" fmla="*/ 35719 w 35718"/>
                    <a:gd name="connsiteY0" fmla="*/ 18898 h 66141"/>
                    <a:gd name="connsiteX1" fmla="*/ 2381 w 35718"/>
                    <a:gd name="connsiteY1" fmla="*/ 63780 h 66141"/>
                    <a:gd name="connsiteX2" fmla="*/ 0 w 35718"/>
                    <a:gd name="connsiteY2" fmla="*/ 66142 h 66141"/>
                    <a:gd name="connsiteX3" fmla="*/ 0 w 35718"/>
                    <a:gd name="connsiteY3" fmla="*/ 0 h 66141"/>
                    <a:gd name="connsiteX4" fmla="*/ 0 w 35718"/>
                    <a:gd name="connsiteY4" fmla="*/ 0 h 66141"/>
                    <a:gd name="connsiteX5" fmla="*/ 9525 w 35718"/>
                    <a:gd name="connsiteY5" fmla="*/ 0 h 6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 h="66141">
                      <a:moveTo>
                        <a:pt x="35719" y="18898"/>
                      </a:moveTo>
                      <a:lnTo>
                        <a:pt x="2381" y="63780"/>
                      </a:lnTo>
                      <a:lnTo>
                        <a:pt x="0" y="66142"/>
                      </a:lnTo>
                      <a:lnTo>
                        <a:pt x="0" y="0"/>
                      </a:lnTo>
                      <a:lnTo>
                        <a:pt x="0" y="0"/>
                      </a:lnTo>
                      <a:lnTo>
                        <a:pt x="9525" y="0"/>
                      </a:lnTo>
                      <a:close/>
                    </a:path>
                  </a:pathLst>
                </a:custGeom>
                <a:solidFill>
                  <a:schemeClr val="tx2"/>
                </a:solidFill>
                <a:ln w="23813"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88976C05-8795-B7D2-6047-EB714D647F6D}"/>
                    </a:ext>
                  </a:extLst>
                </p:cNvPr>
                <p:cNvSpPr/>
                <p:nvPr/>
              </p:nvSpPr>
              <p:spPr>
                <a:xfrm>
                  <a:off x="5464134" y="1517904"/>
                  <a:ext cx="2381" cy="2362"/>
                </a:xfrm>
                <a:custGeom>
                  <a:avLst/>
                  <a:gdLst>
                    <a:gd name="connsiteX0" fmla="*/ 2381 w 2381"/>
                    <a:gd name="connsiteY0" fmla="*/ 0 h 2362"/>
                    <a:gd name="connsiteX1" fmla="*/ 0 w 2381"/>
                    <a:gd name="connsiteY1" fmla="*/ 2362 h 2362"/>
                    <a:gd name="connsiteX2" fmla="*/ 0 w 2381"/>
                    <a:gd name="connsiteY2" fmla="*/ 0 h 2362"/>
                  </a:gdLst>
                  <a:ahLst/>
                  <a:cxnLst>
                    <a:cxn ang="0">
                      <a:pos x="connsiteX0" y="connsiteY0"/>
                    </a:cxn>
                    <a:cxn ang="0">
                      <a:pos x="connsiteX1" y="connsiteY1"/>
                    </a:cxn>
                    <a:cxn ang="0">
                      <a:pos x="connsiteX2" y="connsiteY2"/>
                    </a:cxn>
                  </a:cxnLst>
                  <a:rect l="l" t="t" r="r" b="b"/>
                  <a:pathLst>
                    <a:path w="2381" h="2362">
                      <a:moveTo>
                        <a:pt x="2381" y="0"/>
                      </a:moveTo>
                      <a:lnTo>
                        <a:pt x="0" y="2362"/>
                      </a:lnTo>
                      <a:lnTo>
                        <a:pt x="0" y="0"/>
                      </a:lnTo>
                      <a:close/>
                    </a:path>
                  </a:pathLst>
                </a:custGeom>
                <a:solidFill>
                  <a:schemeClr val="tx2"/>
                </a:solidFill>
                <a:ln w="23813"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33D19AE4-5D75-E224-D2EB-36D5804277B2}"/>
                    </a:ext>
                  </a:extLst>
                </p:cNvPr>
                <p:cNvSpPr/>
                <p:nvPr/>
              </p:nvSpPr>
              <p:spPr>
                <a:xfrm>
                  <a:off x="5380790" y="1517904"/>
                  <a:ext cx="2381" cy="2362"/>
                </a:xfrm>
                <a:custGeom>
                  <a:avLst/>
                  <a:gdLst>
                    <a:gd name="connsiteX0" fmla="*/ 2381 w 2381"/>
                    <a:gd name="connsiteY0" fmla="*/ 2362 h 2362"/>
                    <a:gd name="connsiteX1" fmla="*/ 0 w 2381"/>
                    <a:gd name="connsiteY1" fmla="*/ 0 h 2362"/>
                    <a:gd name="connsiteX2" fmla="*/ 2381 w 2381"/>
                    <a:gd name="connsiteY2" fmla="*/ 0 h 2362"/>
                  </a:gdLst>
                  <a:ahLst/>
                  <a:cxnLst>
                    <a:cxn ang="0">
                      <a:pos x="connsiteX0" y="connsiteY0"/>
                    </a:cxn>
                    <a:cxn ang="0">
                      <a:pos x="connsiteX1" y="connsiteY1"/>
                    </a:cxn>
                    <a:cxn ang="0">
                      <a:pos x="connsiteX2" y="connsiteY2"/>
                    </a:cxn>
                  </a:cxnLst>
                  <a:rect l="l" t="t" r="r" b="b"/>
                  <a:pathLst>
                    <a:path w="2381" h="2362">
                      <a:moveTo>
                        <a:pt x="2381" y="2362"/>
                      </a:moveTo>
                      <a:lnTo>
                        <a:pt x="0" y="0"/>
                      </a:lnTo>
                      <a:lnTo>
                        <a:pt x="2381" y="0"/>
                      </a:lnTo>
                      <a:close/>
                    </a:path>
                  </a:pathLst>
                </a:custGeom>
                <a:solidFill>
                  <a:schemeClr val="tx2"/>
                </a:solidFill>
                <a:ln w="23813" cap="flat">
                  <a:noFill/>
                  <a:prstDash val="solid"/>
                  <a:miter/>
                </a:ln>
              </p:spPr>
              <p:txBody>
                <a:bodyPr rtlCol="0" anchor="ctr"/>
                <a:lstStyle/>
                <a:p>
                  <a:endParaRPr lang="en-US"/>
                </a:p>
              </p:txBody>
            </p:sp>
          </p:grpSp>
        </p:grpSp>
        <p:sp>
          <p:nvSpPr>
            <p:cNvPr id="60" name="Freeform: Shape 59">
              <a:extLst>
                <a:ext uri="{FF2B5EF4-FFF2-40B4-BE49-F238E27FC236}">
                  <a16:creationId xmlns:a16="http://schemas.microsoft.com/office/drawing/2014/main" id="{42504911-12D4-2E81-8644-6489B95FD5E2}"/>
                </a:ext>
              </a:extLst>
            </p:cNvPr>
            <p:cNvSpPr/>
            <p:nvPr/>
          </p:nvSpPr>
          <p:spPr>
            <a:xfrm>
              <a:off x="5468897" y="1189557"/>
              <a:ext cx="102558" cy="99212"/>
            </a:xfrm>
            <a:custGeom>
              <a:avLst/>
              <a:gdLst>
                <a:gd name="connsiteX0" fmla="*/ 52387 w 102558"/>
                <a:gd name="connsiteY0" fmla="*/ 0 h 99212"/>
                <a:gd name="connsiteX1" fmla="*/ 0 w 102558"/>
                <a:gd name="connsiteY1" fmla="*/ 49606 h 99212"/>
                <a:gd name="connsiteX2" fmla="*/ 52387 w 102558"/>
                <a:gd name="connsiteY2" fmla="*/ 99213 h 99212"/>
                <a:gd name="connsiteX3" fmla="*/ 102394 w 102558"/>
                <a:gd name="connsiteY3" fmla="*/ 49606 h 99212"/>
                <a:gd name="connsiteX4" fmla="*/ 52387 w 102558"/>
                <a:gd name="connsiteY4" fmla="*/ 0 h 99212"/>
                <a:gd name="connsiteX5" fmla="*/ 52387 w 102558"/>
                <a:gd name="connsiteY5" fmla="*/ 61417 h 99212"/>
                <a:gd name="connsiteX6" fmla="*/ 42862 w 102558"/>
                <a:gd name="connsiteY6" fmla="*/ 51968 h 99212"/>
                <a:gd name="connsiteX7" fmla="*/ 52387 w 102558"/>
                <a:gd name="connsiteY7" fmla="*/ 42520 h 99212"/>
                <a:gd name="connsiteX8" fmla="*/ 61912 w 102558"/>
                <a:gd name="connsiteY8" fmla="*/ 51968 h 99212"/>
                <a:gd name="connsiteX9" fmla="*/ 52387 w 102558"/>
                <a:gd name="connsiteY9" fmla="*/ 61417 h 9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558" h="99212">
                  <a:moveTo>
                    <a:pt x="52387" y="0"/>
                  </a:moveTo>
                  <a:cubicBezTo>
                    <a:pt x="23813" y="0"/>
                    <a:pt x="0" y="23622"/>
                    <a:pt x="0" y="49606"/>
                  </a:cubicBezTo>
                  <a:cubicBezTo>
                    <a:pt x="0" y="77953"/>
                    <a:pt x="23813" y="99213"/>
                    <a:pt x="52387" y="99213"/>
                  </a:cubicBezTo>
                  <a:cubicBezTo>
                    <a:pt x="80962" y="99213"/>
                    <a:pt x="102394" y="75590"/>
                    <a:pt x="102394" y="49606"/>
                  </a:cubicBezTo>
                  <a:cubicBezTo>
                    <a:pt x="104775" y="23622"/>
                    <a:pt x="80962" y="0"/>
                    <a:pt x="52387" y="0"/>
                  </a:cubicBezTo>
                  <a:close/>
                  <a:moveTo>
                    <a:pt x="52387" y="61417"/>
                  </a:moveTo>
                  <a:cubicBezTo>
                    <a:pt x="47625" y="61417"/>
                    <a:pt x="42862" y="56693"/>
                    <a:pt x="42862" y="51968"/>
                  </a:cubicBezTo>
                  <a:cubicBezTo>
                    <a:pt x="42862" y="47244"/>
                    <a:pt x="47625" y="42520"/>
                    <a:pt x="52387" y="42520"/>
                  </a:cubicBezTo>
                  <a:cubicBezTo>
                    <a:pt x="57150" y="42520"/>
                    <a:pt x="61912" y="47244"/>
                    <a:pt x="61912" y="51968"/>
                  </a:cubicBezTo>
                  <a:cubicBezTo>
                    <a:pt x="64294" y="56693"/>
                    <a:pt x="59531" y="61417"/>
                    <a:pt x="52387" y="61417"/>
                  </a:cubicBezTo>
                  <a:close/>
                </a:path>
              </a:pathLst>
            </a:custGeom>
            <a:solidFill>
              <a:schemeClr val="tx2"/>
            </a:solidFill>
            <a:ln w="23813"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EAC7C57-0D3D-C0A6-2123-F5BE81D66BFB}"/>
                </a:ext>
              </a:extLst>
            </p:cNvPr>
            <p:cNvSpPr/>
            <p:nvPr/>
          </p:nvSpPr>
          <p:spPr>
            <a:xfrm>
              <a:off x="5480803" y="1281683"/>
              <a:ext cx="80962" cy="63779"/>
            </a:xfrm>
            <a:custGeom>
              <a:avLst/>
              <a:gdLst>
                <a:gd name="connsiteX0" fmla="*/ 80962 w 80962"/>
                <a:gd name="connsiteY0" fmla="*/ 0 h 63779"/>
                <a:gd name="connsiteX1" fmla="*/ 80962 w 80962"/>
                <a:gd name="connsiteY1" fmla="*/ 63780 h 63779"/>
                <a:gd name="connsiteX2" fmla="*/ 0 w 80962"/>
                <a:gd name="connsiteY2" fmla="*/ 63780 h 63779"/>
                <a:gd name="connsiteX3" fmla="*/ 0 w 80962"/>
                <a:gd name="connsiteY3" fmla="*/ 0 h 63779"/>
                <a:gd name="connsiteX4" fmla="*/ 40481 w 80962"/>
                <a:gd name="connsiteY4" fmla="*/ 51968 h 6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 h="63779">
                  <a:moveTo>
                    <a:pt x="80962" y="0"/>
                  </a:moveTo>
                  <a:lnTo>
                    <a:pt x="80962" y="63780"/>
                  </a:lnTo>
                  <a:lnTo>
                    <a:pt x="0" y="63780"/>
                  </a:lnTo>
                  <a:lnTo>
                    <a:pt x="0" y="0"/>
                  </a:lnTo>
                  <a:lnTo>
                    <a:pt x="40481" y="51968"/>
                  </a:lnTo>
                  <a:close/>
                </a:path>
              </a:pathLst>
            </a:custGeom>
            <a:solidFill>
              <a:schemeClr val="tx2"/>
            </a:solidFill>
            <a:ln w="23813"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E5D1E2FA-75CC-F290-52C8-B8772E703D42}"/>
                </a:ext>
              </a:extLst>
            </p:cNvPr>
            <p:cNvSpPr/>
            <p:nvPr/>
          </p:nvSpPr>
          <p:spPr>
            <a:xfrm>
              <a:off x="5561765" y="1281683"/>
              <a:ext cx="45243" cy="63779"/>
            </a:xfrm>
            <a:custGeom>
              <a:avLst/>
              <a:gdLst>
                <a:gd name="connsiteX0" fmla="*/ 0 w 45243"/>
                <a:gd name="connsiteY0" fmla="*/ 0 h 63779"/>
                <a:gd name="connsiteX1" fmla="*/ 45244 w 45243"/>
                <a:gd name="connsiteY1" fmla="*/ 0 h 63779"/>
                <a:gd name="connsiteX2" fmla="*/ 45244 w 45243"/>
                <a:gd name="connsiteY2" fmla="*/ 63780 h 63779"/>
                <a:gd name="connsiteX3" fmla="*/ 0 w 45243"/>
                <a:gd name="connsiteY3" fmla="*/ 63780 h 63779"/>
              </a:gdLst>
              <a:ahLst/>
              <a:cxnLst>
                <a:cxn ang="0">
                  <a:pos x="connsiteX0" y="connsiteY0"/>
                </a:cxn>
                <a:cxn ang="0">
                  <a:pos x="connsiteX1" y="connsiteY1"/>
                </a:cxn>
                <a:cxn ang="0">
                  <a:pos x="connsiteX2" y="connsiteY2"/>
                </a:cxn>
                <a:cxn ang="0">
                  <a:pos x="connsiteX3" y="connsiteY3"/>
                </a:cxn>
              </a:cxnLst>
              <a:rect l="l" t="t" r="r" b="b"/>
              <a:pathLst>
                <a:path w="45243" h="63779">
                  <a:moveTo>
                    <a:pt x="0" y="0"/>
                  </a:moveTo>
                  <a:lnTo>
                    <a:pt x="45244" y="0"/>
                  </a:lnTo>
                  <a:lnTo>
                    <a:pt x="45244" y="63780"/>
                  </a:lnTo>
                  <a:lnTo>
                    <a:pt x="0" y="63780"/>
                  </a:lnTo>
                  <a:close/>
                </a:path>
              </a:pathLst>
            </a:custGeom>
            <a:solidFill>
              <a:schemeClr val="tx2"/>
            </a:solidFill>
            <a:ln w="23813"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303E84CF-B71F-4F76-A6E9-429463C6D1F8}"/>
                </a:ext>
              </a:extLst>
            </p:cNvPr>
            <p:cNvSpPr/>
            <p:nvPr/>
          </p:nvSpPr>
          <p:spPr>
            <a:xfrm>
              <a:off x="5437940" y="1281683"/>
              <a:ext cx="45243" cy="63779"/>
            </a:xfrm>
            <a:custGeom>
              <a:avLst/>
              <a:gdLst>
                <a:gd name="connsiteX0" fmla="*/ 0 w 45243"/>
                <a:gd name="connsiteY0" fmla="*/ 0 h 63779"/>
                <a:gd name="connsiteX1" fmla="*/ 45244 w 45243"/>
                <a:gd name="connsiteY1" fmla="*/ 0 h 63779"/>
                <a:gd name="connsiteX2" fmla="*/ 45244 w 45243"/>
                <a:gd name="connsiteY2" fmla="*/ 63780 h 63779"/>
                <a:gd name="connsiteX3" fmla="*/ 0 w 45243"/>
                <a:gd name="connsiteY3" fmla="*/ 63780 h 63779"/>
              </a:gdLst>
              <a:ahLst/>
              <a:cxnLst>
                <a:cxn ang="0">
                  <a:pos x="connsiteX0" y="connsiteY0"/>
                </a:cxn>
                <a:cxn ang="0">
                  <a:pos x="connsiteX1" y="connsiteY1"/>
                </a:cxn>
                <a:cxn ang="0">
                  <a:pos x="connsiteX2" y="connsiteY2"/>
                </a:cxn>
                <a:cxn ang="0">
                  <a:pos x="connsiteX3" y="connsiteY3"/>
                </a:cxn>
              </a:cxnLst>
              <a:rect l="l" t="t" r="r" b="b"/>
              <a:pathLst>
                <a:path w="45243" h="63779">
                  <a:moveTo>
                    <a:pt x="0" y="0"/>
                  </a:moveTo>
                  <a:lnTo>
                    <a:pt x="45244" y="0"/>
                  </a:lnTo>
                  <a:lnTo>
                    <a:pt x="45244" y="63780"/>
                  </a:lnTo>
                  <a:lnTo>
                    <a:pt x="0" y="63780"/>
                  </a:lnTo>
                  <a:close/>
                </a:path>
              </a:pathLst>
            </a:custGeom>
            <a:solidFill>
              <a:schemeClr val="tx2"/>
            </a:solidFill>
            <a:ln w="23813"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4C1AB94-43F9-0D6F-2F7C-65F228EF09ED}"/>
                </a:ext>
              </a:extLst>
            </p:cNvPr>
            <p:cNvSpPr/>
            <p:nvPr/>
          </p:nvSpPr>
          <p:spPr>
            <a:xfrm>
              <a:off x="5178384" y="1220266"/>
              <a:ext cx="114300" cy="103936"/>
            </a:xfrm>
            <a:custGeom>
              <a:avLst/>
              <a:gdLst>
                <a:gd name="connsiteX0" fmla="*/ 88106 w 114300"/>
                <a:gd name="connsiteY0" fmla="*/ 0 h 103936"/>
                <a:gd name="connsiteX1" fmla="*/ 26194 w 114300"/>
                <a:gd name="connsiteY1" fmla="*/ 0 h 103936"/>
                <a:gd name="connsiteX2" fmla="*/ 0 w 114300"/>
                <a:gd name="connsiteY2" fmla="*/ 47244 h 103936"/>
                <a:gd name="connsiteX3" fmla="*/ 0 w 114300"/>
                <a:gd name="connsiteY3" fmla="*/ 47244 h 103936"/>
                <a:gd name="connsiteX4" fmla="*/ 57150 w 114300"/>
                <a:gd name="connsiteY4" fmla="*/ 103937 h 103936"/>
                <a:gd name="connsiteX5" fmla="*/ 114300 w 114300"/>
                <a:gd name="connsiteY5" fmla="*/ 47244 h 103936"/>
                <a:gd name="connsiteX6" fmla="*/ 114300 w 114300"/>
                <a:gd name="connsiteY6" fmla="*/ 47244 h 103936"/>
                <a:gd name="connsiteX7" fmla="*/ 88106 w 114300"/>
                <a:gd name="connsiteY7" fmla="*/ 0 h 103936"/>
                <a:gd name="connsiteX8" fmla="*/ 57150 w 114300"/>
                <a:gd name="connsiteY8" fmla="*/ 56693 h 103936"/>
                <a:gd name="connsiteX9" fmla="*/ 47625 w 114300"/>
                <a:gd name="connsiteY9" fmla="*/ 47244 h 103936"/>
                <a:gd name="connsiteX10" fmla="*/ 47625 w 114300"/>
                <a:gd name="connsiteY10" fmla="*/ 47244 h 103936"/>
                <a:gd name="connsiteX11" fmla="*/ 57150 w 114300"/>
                <a:gd name="connsiteY11" fmla="*/ 37795 h 103936"/>
                <a:gd name="connsiteX12" fmla="*/ 57150 w 114300"/>
                <a:gd name="connsiteY12" fmla="*/ 37795 h 103936"/>
                <a:gd name="connsiteX13" fmla="*/ 66675 w 114300"/>
                <a:gd name="connsiteY13" fmla="*/ 47244 h 103936"/>
                <a:gd name="connsiteX14" fmla="*/ 57150 w 114300"/>
                <a:gd name="connsiteY14" fmla="*/ 56693 h 10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4300" h="103936">
                  <a:moveTo>
                    <a:pt x="88106" y="0"/>
                  </a:moveTo>
                  <a:lnTo>
                    <a:pt x="26194" y="0"/>
                  </a:lnTo>
                  <a:cubicBezTo>
                    <a:pt x="11906" y="9449"/>
                    <a:pt x="0" y="28346"/>
                    <a:pt x="0" y="47244"/>
                  </a:cubicBezTo>
                  <a:lnTo>
                    <a:pt x="0" y="47244"/>
                  </a:lnTo>
                  <a:cubicBezTo>
                    <a:pt x="0" y="77953"/>
                    <a:pt x="26194" y="103937"/>
                    <a:pt x="57150" y="103937"/>
                  </a:cubicBezTo>
                  <a:cubicBezTo>
                    <a:pt x="88106" y="103937"/>
                    <a:pt x="114300" y="77953"/>
                    <a:pt x="114300" y="47244"/>
                  </a:cubicBezTo>
                  <a:lnTo>
                    <a:pt x="114300" y="47244"/>
                  </a:lnTo>
                  <a:cubicBezTo>
                    <a:pt x="114300" y="28346"/>
                    <a:pt x="102394" y="9449"/>
                    <a:pt x="88106" y="0"/>
                  </a:cubicBezTo>
                  <a:close/>
                  <a:moveTo>
                    <a:pt x="57150" y="56693"/>
                  </a:moveTo>
                  <a:cubicBezTo>
                    <a:pt x="52387" y="56693"/>
                    <a:pt x="47625" y="51968"/>
                    <a:pt x="47625" y="47244"/>
                  </a:cubicBezTo>
                  <a:lnTo>
                    <a:pt x="47625" y="47244"/>
                  </a:lnTo>
                  <a:cubicBezTo>
                    <a:pt x="47625" y="42520"/>
                    <a:pt x="52387" y="37795"/>
                    <a:pt x="57150" y="37795"/>
                  </a:cubicBezTo>
                  <a:cubicBezTo>
                    <a:pt x="57150" y="37795"/>
                    <a:pt x="57150" y="37795"/>
                    <a:pt x="57150" y="37795"/>
                  </a:cubicBezTo>
                  <a:cubicBezTo>
                    <a:pt x="61913" y="37795"/>
                    <a:pt x="66675" y="42520"/>
                    <a:pt x="66675" y="47244"/>
                  </a:cubicBezTo>
                  <a:cubicBezTo>
                    <a:pt x="66675" y="51968"/>
                    <a:pt x="61913" y="56693"/>
                    <a:pt x="57150" y="56693"/>
                  </a:cubicBezTo>
                  <a:close/>
                </a:path>
              </a:pathLst>
            </a:custGeom>
            <a:solidFill>
              <a:schemeClr val="tx2"/>
            </a:solidFill>
            <a:ln w="23813"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C1A95271-3468-7638-957F-327CDBF4BB5B}"/>
                </a:ext>
              </a:extLst>
            </p:cNvPr>
            <p:cNvSpPr/>
            <p:nvPr/>
          </p:nvSpPr>
          <p:spPr>
            <a:xfrm>
              <a:off x="5011697" y="1220266"/>
              <a:ext cx="114300" cy="103936"/>
            </a:xfrm>
            <a:custGeom>
              <a:avLst/>
              <a:gdLst>
                <a:gd name="connsiteX0" fmla="*/ 88106 w 114300"/>
                <a:gd name="connsiteY0" fmla="*/ 0 h 103936"/>
                <a:gd name="connsiteX1" fmla="*/ 26194 w 114300"/>
                <a:gd name="connsiteY1" fmla="*/ 0 h 103936"/>
                <a:gd name="connsiteX2" fmla="*/ 0 w 114300"/>
                <a:gd name="connsiteY2" fmla="*/ 47244 h 103936"/>
                <a:gd name="connsiteX3" fmla="*/ 0 w 114300"/>
                <a:gd name="connsiteY3" fmla="*/ 47244 h 103936"/>
                <a:gd name="connsiteX4" fmla="*/ 57150 w 114300"/>
                <a:gd name="connsiteY4" fmla="*/ 103937 h 103936"/>
                <a:gd name="connsiteX5" fmla="*/ 114300 w 114300"/>
                <a:gd name="connsiteY5" fmla="*/ 47244 h 103936"/>
                <a:gd name="connsiteX6" fmla="*/ 114300 w 114300"/>
                <a:gd name="connsiteY6" fmla="*/ 47244 h 103936"/>
                <a:gd name="connsiteX7" fmla="*/ 88106 w 114300"/>
                <a:gd name="connsiteY7" fmla="*/ 0 h 103936"/>
                <a:gd name="connsiteX8" fmla="*/ 57150 w 114300"/>
                <a:gd name="connsiteY8" fmla="*/ 56693 h 103936"/>
                <a:gd name="connsiteX9" fmla="*/ 47625 w 114300"/>
                <a:gd name="connsiteY9" fmla="*/ 47244 h 103936"/>
                <a:gd name="connsiteX10" fmla="*/ 57150 w 114300"/>
                <a:gd name="connsiteY10" fmla="*/ 37795 h 103936"/>
                <a:gd name="connsiteX11" fmla="*/ 66675 w 114300"/>
                <a:gd name="connsiteY11" fmla="*/ 47244 h 103936"/>
                <a:gd name="connsiteX12" fmla="*/ 57150 w 114300"/>
                <a:gd name="connsiteY12" fmla="*/ 56693 h 10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03936">
                  <a:moveTo>
                    <a:pt x="88106" y="0"/>
                  </a:moveTo>
                  <a:lnTo>
                    <a:pt x="26194" y="0"/>
                  </a:lnTo>
                  <a:cubicBezTo>
                    <a:pt x="11906" y="9449"/>
                    <a:pt x="0" y="28346"/>
                    <a:pt x="0" y="47244"/>
                  </a:cubicBezTo>
                  <a:lnTo>
                    <a:pt x="0" y="47244"/>
                  </a:lnTo>
                  <a:cubicBezTo>
                    <a:pt x="0" y="77953"/>
                    <a:pt x="26194" y="103937"/>
                    <a:pt x="57150" y="103937"/>
                  </a:cubicBezTo>
                  <a:cubicBezTo>
                    <a:pt x="88106" y="103937"/>
                    <a:pt x="114300" y="77953"/>
                    <a:pt x="114300" y="47244"/>
                  </a:cubicBezTo>
                  <a:lnTo>
                    <a:pt x="114300" y="47244"/>
                  </a:lnTo>
                  <a:cubicBezTo>
                    <a:pt x="114300" y="28346"/>
                    <a:pt x="102394" y="9449"/>
                    <a:pt x="88106" y="0"/>
                  </a:cubicBezTo>
                  <a:close/>
                  <a:moveTo>
                    <a:pt x="57150" y="56693"/>
                  </a:moveTo>
                  <a:cubicBezTo>
                    <a:pt x="52387" y="56693"/>
                    <a:pt x="47625" y="51968"/>
                    <a:pt x="47625" y="47244"/>
                  </a:cubicBezTo>
                  <a:cubicBezTo>
                    <a:pt x="47625" y="42520"/>
                    <a:pt x="52387" y="37795"/>
                    <a:pt x="57150" y="37795"/>
                  </a:cubicBezTo>
                  <a:cubicBezTo>
                    <a:pt x="61912" y="37795"/>
                    <a:pt x="66675" y="42520"/>
                    <a:pt x="66675" y="47244"/>
                  </a:cubicBezTo>
                  <a:cubicBezTo>
                    <a:pt x="66675" y="51968"/>
                    <a:pt x="61912" y="56693"/>
                    <a:pt x="57150" y="56693"/>
                  </a:cubicBezTo>
                  <a:close/>
                </a:path>
              </a:pathLst>
            </a:custGeom>
            <a:solidFill>
              <a:schemeClr val="tx2"/>
            </a:solidFill>
            <a:ln w="23813" cap="flat">
              <a:noFill/>
              <a:prstDash val="solid"/>
              <a:miter/>
            </a:ln>
          </p:spPr>
          <p:txBody>
            <a:bodyPr rtlCol="0" anchor="ctr"/>
            <a:lstStyle/>
            <a:p>
              <a:endParaRPr lang="en-US"/>
            </a:p>
          </p:txBody>
        </p:sp>
      </p:grpSp>
      <p:grpSp>
        <p:nvGrpSpPr>
          <p:cNvPr id="88" name="Group 87">
            <a:extLst>
              <a:ext uri="{FF2B5EF4-FFF2-40B4-BE49-F238E27FC236}">
                <a16:creationId xmlns:a16="http://schemas.microsoft.com/office/drawing/2014/main" id="{1931AFB4-D343-3A26-BB36-3AC78E1F0B12}"/>
              </a:ext>
            </a:extLst>
          </p:cNvPr>
          <p:cNvGrpSpPr/>
          <p:nvPr/>
        </p:nvGrpSpPr>
        <p:grpSpPr>
          <a:xfrm>
            <a:off x="3806191" y="5835651"/>
            <a:ext cx="769619" cy="673099"/>
            <a:chOff x="6476360" y="5379057"/>
            <a:chExt cx="769619" cy="673099"/>
          </a:xfrm>
        </p:grpSpPr>
        <p:sp>
          <p:nvSpPr>
            <p:cNvPr id="89" name="Freeform: Shape 88">
              <a:extLst>
                <a:ext uri="{FF2B5EF4-FFF2-40B4-BE49-F238E27FC236}">
                  <a16:creationId xmlns:a16="http://schemas.microsoft.com/office/drawing/2014/main" id="{FCFCE307-9922-2BF0-2E42-09141F2706D0}"/>
                </a:ext>
              </a:extLst>
            </p:cNvPr>
            <p:cNvSpPr/>
            <p:nvPr/>
          </p:nvSpPr>
          <p:spPr>
            <a:xfrm>
              <a:off x="6677020" y="5457798"/>
              <a:ext cx="386080" cy="320040"/>
            </a:xfrm>
            <a:custGeom>
              <a:avLst/>
              <a:gdLst>
                <a:gd name="connsiteX0" fmla="*/ 386080 w 386080"/>
                <a:gd name="connsiteY0" fmla="*/ 0 h 320040"/>
                <a:gd name="connsiteX1" fmla="*/ 322580 w 386080"/>
                <a:gd name="connsiteY1" fmla="*/ 0 h 320040"/>
                <a:gd name="connsiteX2" fmla="*/ 121920 w 386080"/>
                <a:gd name="connsiteY2" fmla="*/ 241300 h 320040"/>
                <a:gd name="connsiteX3" fmla="*/ 53340 w 386080"/>
                <a:gd name="connsiteY3" fmla="*/ 157480 h 320040"/>
                <a:gd name="connsiteX4" fmla="*/ 7620 w 386080"/>
                <a:gd name="connsiteY4" fmla="*/ 157480 h 320040"/>
                <a:gd name="connsiteX5" fmla="*/ 0 w 386080"/>
                <a:gd name="connsiteY5" fmla="*/ 172720 h 320040"/>
                <a:gd name="connsiteX6" fmla="*/ 121920 w 386080"/>
                <a:gd name="connsiteY6" fmla="*/ 32004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080" h="320040">
                  <a:moveTo>
                    <a:pt x="386080" y="0"/>
                  </a:moveTo>
                  <a:lnTo>
                    <a:pt x="322580" y="0"/>
                  </a:lnTo>
                  <a:lnTo>
                    <a:pt x="121920" y="241300"/>
                  </a:lnTo>
                  <a:lnTo>
                    <a:pt x="53340" y="157480"/>
                  </a:lnTo>
                  <a:lnTo>
                    <a:pt x="7620" y="157480"/>
                  </a:lnTo>
                  <a:lnTo>
                    <a:pt x="0" y="172720"/>
                  </a:lnTo>
                  <a:lnTo>
                    <a:pt x="121920" y="320040"/>
                  </a:lnTo>
                  <a:close/>
                </a:path>
              </a:pathLst>
            </a:custGeom>
            <a:solidFill>
              <a:schemeClr val="tx2"/>
            </a:solidFill>
            <a:ln w="25400" cap="flat">
              <a:noFill/>
              <a:prstDash val="solid"/>
              <a:miter/>
            </a:ln>
          </p:spPr>
          <p:txBody>
            <a:bodyPr rtlCol="0" anchor="ctr"/>
            <a:lstStyle/>
            <a:p>
              <a:endParaRPr lang="en-US" sz="900"/>
            </a:p>
          </p:txBody>
        </p:sp>
        <p:sp>
          <p:nvSpPr>
            <p:cNvPr id="90" name="Freeform: Shape 89">
              <a:extLst>
                <a:ext uri="{FF2B5EF4-FFF2-40B4-BE49-F238E27FC236}">
                  <a16:creationId xmlns:a16="http://schemas.microsoft.com/office/drawing/2014/main" id="{324C725F-8D90-DC89-9588-9367F7684846}"/>
                </a:ext>
              </a:extLst>
            </p:cNvPr>
            <p:cNvSpPr/>
            <p:nvPr/>
          </p:nvSpPr>
          <p:spPr>
            <a:xfrm>
              <a:off x="6476360" y="5379057"/>
              <a:ext cx="769619" cy="673099"/>
            </a:xfrm>
            <a:custGeom>
              <a:avLst/>
              <a:gdLst>
                <a:gd name="connsiteX0" fmla="*/ 96520 w 769619"/>
                <a:gd name="connsiteY0" fmla="*/ 0 h 673099"/>
                <a:gd name="connsiteX1" fmla="*/ 48260 w 769619"/>
                <a:gd name="connsiteY1" fmla="*/ 48260 h 673099"/>
                <a:gd name="connsiteX2" fmla="*/ 721360 w 769619"/>
                <a:gd name="connsiteY2" fmla="*/ 48260 h 673099"/>
                <a:gd name="connsiteX3" fmla="*/ 721360 w 769619"/>
                <a:gd name="connsiteY3" fmla="*/ 434340 h 673099"/>
                <a:gd name="connsiteX4" fmla="*/ 576580 w 769619"/>
                <a:gd name="connsiteY4" fmla="*/ 434340 h 673099"/>
                <a:gd name="connsiteX5" fmla="*/ 576580 w 769619"/>
                <a:gd name="connsiteY5" fmla="*/ 584200 h 673099"/>
                <a:gd name="connsiteX6" fmla="*/ 355600 w 769619"/>
                <a:gd name="connsiteY6" fmla="*/ 434340 h 673099"/>
                <a:gd name="connsiteX7" fmla="*/ 48260 w 769619"/>
                <a:gd name="connsiteY7" fmla="*/ 434340 h 673099"/>
                <a:gd name="connsiteX8" fmla="*/ 48260 w 769619"/>
                <a:gd name="connsiteY8" fmla="*/ 48260 h 673099"/>
                <a:gd name="connsiteX9" fmla="*/ 0 w 769619"/>
                <a:gd name="connsiteY9" fmla="*/ 96520 h 673099"/>
                <a:gd name="connsiteX10" fmla="*/ 0 w 769619"/>
                <a:gd name="connsiteY10" fmla="*/ 482600 h 673099"/>
                <a:gd name="connsiteX11" fmla="*/ 340360 w 769619"/>
                <a:gd name="connsiteY11" fmla="*/ 482600 h 673099"/>
                <a:gd name="connsiteX12" fmla="*/ 624840 w 769619"/>
                <a:gd name="connsiteY12" fmla="*/ 673100 h 673099"/>
                <a:gd name="connsiteX13" fmla="*/ 624840 w 769619"/>
                <a:gd name="connsiteY13" fmla="*/ 482600 h 673099"/>
                <a:gd name="connsiteX14" fmla="*/ 769620 w 769619"/>
                <a:gd name="connsiteY14" fmla="*/ 482600 h 673099"/>
                <a:gd name="connsiteX15" fmla="*/ 769620 w 769619"/>
                <a:gd name="connsiteY15" fmla="*/ 0 h 67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9619" h="673099">
                  <a:moveTo>
                    <a:pt x="96520" y="0"/>
                  </a:moveTo>
                  <a:lnTo>
                    <a:pt x="48260" y="48260"/>
                  </a:lnTo>
                  <a:lnTo>
                    <a:pt x="721360" y="48260"/>
                  </a:lnTo>
                  <a:lnTo>
                    <a:pt x="721360" y="434340"/>
                  </a:lnTo>
                  <a:lnTo>
                    <a:pt x="576580" y="434340"/>
                  </a:lnTo>
                  <a:lnTo>
                    <a:pt x="576580" y="584200"/>
                  </a:lnTo>
                  <a:lnTo>
                    <a:pt x="355600" y="434340"/>
                  </a:lnTo>
                  <a:lnTo>
                    <a:pt x="48260" y="434340"/>
                  </a:lnTo>
                  <a:lnTo>
                    <a:pt x="48260" y="48260"/>
                  </a:lnTo>
                  <a:lnTo>
                    <a:pt x="0" y="96520"/>
                  </a:lnTo>
                  <a:lnTo>
                    <a:pt x="0" y="482600"/>
                  </a:lnTo>
                  <a:lnTo>
                    <a:pt x="340360" y="482600"/>
                  </a:lnTo>
                  <a:lnTo>
                    <a:pt x="624840" y="673100"/>
                  </a:lnTo>
                  <a:lnTo>
                    <a:pt x="624840" y="482600"/>
                  </a:lnTo>
                  <a:lnTo>
                    <a:pt x="769620" y="482600"/>
                  </a:lnTo>
                  <a:lnTo>
                    <a:pt x="769620" y="0"/>
                  </a:lnTo>
                  <a:close/>
                </a:path>
              </a:pathLst>
            </a:custGeom>
            <a:solidFill>
              <a:schemeClr val="tx2"/>
            </a:solidFill>
            <a:ln w="25400" cap="flat">
              <a:noFill/>
              <a:prstDash val="solid"/>
              <a:miter/>
            </a:ln>
          </p:spPr>
          <p:txBody>
            <a:bodyPr rtlCol="0" anchor="ctr"/>
            <a:lstStyle/>
            <a:p>
              <a:endParaRPr lang="en-US" sz="900"/>
            </a:p>
          </p:txBody>
        </p:sp>
      </p:grpSp>
    </p:spTree>
    <p:extLst>
      <p:ext uri="{BB962C8B-B14F-4D97-AF65-F5344CB8AC3E}">
        <p14:creationId xmlns:p14="http://schemas.microsoft.com/office/powerpoint/2010/main" val="23501323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CC636-A5F3-45D7-B0DC-5332A810B267}"/>
            </a:ext>
          </a:extLst>
        </p:cNvPr>
        <p:cNvGrpSpPr/>
        <p:nvPr/>
      </p:nvGrpSpPr>
      <p:grpSpPr>
        <a:xfrm>
          <a:off x="0" y="0"/>
          <a:ext cx="0" cy="0"/>
          <a:chOff x="0" y="0"/>
          <a:chExt cx="0" cy="0"/>
        </a:xfrm>
      </p:grpSpPr>
      <p:sp>
        <p:nvSpPr>
          <p:cNvPr id="13" name="Rectangle 2">
            <a:extLst>
              <a:ext uri="{FF2B5EF4-FFF2-40B4-BE49-F238E27FC236}">
                <a16:creationId xmlns:a16="http://schemas.microsoft.com/office/drawing/2014/main" id="{3B9867E5-9BB5-E67D-C2B0-4FC246BA0253}"/>
              </a:ext>
            </a:extLst>
          </p:cNvPr>
          <p:cNvSpPr>
            <a:spLocks noGrp="1" noChangeArrowheads="1"/>
          </p:cNvSpPr>
          <p:nvPr>
            <p:ph type="title"/>
          </p:nvPr>
        </p:nvSpPr>
        <p:spPr/>
        <p:txBody>
          <a:bodyPr vert="horz"/>
          <a:lstStyle/>
          <a:p>
            <a:r>
              <a:rPr lang="en-US"/>
              <a:t>Appendix 2.1</a:t>
            </a:r>
          </a:p>
        </p:txBody>
      </p:sp>
      <p:sp>
        <p:nvSpPr>
          <p:cNvPr id="14" name="TextBox 13">
            <a:extLst>
              <a:ext uri="{FF2B5EF4-FFF2-40B4-BE49-F238E27FC236}">
                <a16:creationId xmlns:a16="http://schemas.microsoft.com/office/drawing/2014/main" id="{75F7E42A-CA14-FA51-B8AC-21DFB7DBD81F}"/>
              </a:ext>
            </a:extLst>
          </p:cNvPr>
          <p:cNvSpPr txBox="1"/>
          <p:nvPr/>
        </p:nvSpPr>
        <p:spPr>
          <a:xfrm>
            <a:off x="381000" y="699873"/>
            <a:ext cx="8378825" cy="276999"/>
          </a:xfrm>
          <a:prstGeom prst="rect">
            <a:avLst/>
          </a:prstGeom>
          <a:noFill/>
          <a:ln w="6350" cap="flat">
            <a:noFill/>
            <a:miter lim="800000"/>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cap="flat">
                <a:solidFill>
                  <a:srgbClr val="ADABA1"/>
                </a:solidFill>
                <a:miter lim="800000"/>
              </a14:hiddenLine>
            </a:ext>
          </a:extLst>
        </p:spPr>
        <p:txBody>
          <a:bodyPr vert="horz" wrap="square" lIns="0" tIns="0" rIns="0" bIns="0" rtlCol="0" anchor="t" anchorCtr="0">
            <a:spAutoFit/>
          </a:bodyPr>
          <a:lstStyle/>
          <a:p>
            <a:pPr marL="0" marR="0" lvl="0" indent="0" algn="l" defTabSz="914400" rtl="0" eaLnBrk="1" fontAlgn="auto" latinLnBrk="0" hangingPunct="1">
              <a:lnSpc>
                <a:spcPct val="90000"/>
              </a:lnSpc>
              <a:spcBef>
                <a:spcPts val="0"/>
              </a:spcBef>
              <a:spcAft>
                <a:spcPts val="0"/>
              </a:spcAft>
              <a:buClr>
                <a:srgbClr val="9B1717"/>
              </a:buClr>
              <a:buSzTx/>
              <a:buFontTx/>
              <a:buNone/>
              <a:tabLst/>
              <a:defRPr/>
            </a:pPr>
            <a:r>
              <a:rPr kumimoji="0" lang="en-US" sz="2000" b="1" i="0" u="none" strike="noStrike" kern="1200" cap="none" spc="0" normalizeH="0" baseline="0" noProof="0">
                <a:ln>
                  <a:noFill/>
                </a:ln>
                <a:solidFill>
                  <a:srgbClr val="AF7DEB"/>
                </a:solidFill>
                <a:effectLst/>
                <a:uLnTx/>
                <a:uFillTx/>
                <a:latin typeface="Arial" panose="020B0604020202020204" pitchFamily="34" charset="0"/>
                <a:ea typeface="+mn-ea"/>
                <a:cs typeface="Arial"/>
              </a:rPr>
              <a:t>Potential Scenarios</a:t>
            </a:r>
          </a:p>
        </p:txBody>
      </p:sp>
      <p:graphicFrame>
        <p:nvGraphicFramePr>
          <p:cNvPr id="4" name="Table 3">
            <a:extLst>
              <a:ext uri="{FF2B5EF4-FFF2-40B4-BE49-F238E27FC236}">
                <a16:creationId xmlns:a16="http://schemas.microsoft.com/office/drawing/2014/main" id="{576169B1-44DC-EDD9-BAB2-34C92990FADD}"/>
              </a:ext>
            </a:extLst>
          </p:cNvPr>
          <p:cNvGraphicFramePr>
            <a:graphicFrameLocks noGrp="1"/>
          </p:cNvGraphicFramePr>
          <p:nvPr>
            <p:extLst>
              <p:ext uri="{D42A27DB-BD31-4B8C-83A1-F6EECF244321}">
                <p14:modId xmlns:p14="http://schemas.microsoft.com/office/powerpoint/2010/main" val="433298271"/>
              </p:ext>
            </p:extLst>
          </p:nvPr>
        </p:nvGraphicFramePr>
        <p:xfrm>
          <a:off x="3200400" y="999811"/>
          <a:ext cx="8607425" cy="5369669"/>
        </p:xfrm>
        <a:graphic>
          <a:graphicData uri="http://schemas.openxmlformats.org/drawingml/2006/table">
            <a:tbl>
              <a:tblPr firstRow="1" bandRow="1">
                <a:tableStyleId>{5C22544A-7EE6-4342-B048-85BDC9FD1C3A}</a:tableStyleId>
              </a:tblPr>
              <a:tblGrid>
                <a:gridCol w="1488332">
                  <a:extLst>
                    <a:ext uri="{9D8B030D-6E8A-4147-A177-3AD203B41FA5}">
                      <a16:colId xmlns:a16="http://schemas.microsoft.com/office/drawing/2014/main" val="751491253"/>
                    </a:ext>
                  </a:extLst>
                </a:gridCol>
                <a:gridCol w="1380809">
                  <a:extLst>
                    <a:ext uri="{9D8B030D-6E8A-4147-A177-3AD203B41FA5}">
                      <a16:colId xmlns:a16="http://schemas.microsoft.com/office/drawing/2014/main" val="3640975225"/>
                    </a:ext>
                  </a:extLst>
                </a:gridCol>
                <a:gridCol w="1333208">
                  <a:extLst>
                    <a:ext uri="{9D8B030D-6E8A-4147-A177-3AD203B41FA5}">
                      <a16:colId xmlns:a16="http://schemas.microsoft.com/office/drawing/2014/main" val="1830936215"/>
                    </a:ext>
                  </a:extLst>
                </a:gridCol>
                <a:gridCol w="1420238">
                  <a:extLst>
                    <a:ext uri="{9D8B030D-6E8A-4147-A177-3AD203B41FA5}">
                      <a16:colId xmlns:a16="http://schemas.microsoft.com/office/drawing/2014/main" val="4147553802"/>
                    </a:ext>
                  </a:extLst>
                </a:gridCol>
                <a:gridCol w="1550267">
                  <a:extLst>
                    <a:ext uri="{9D8B030D-6E8A-4147-A177-3AD203B41FA5}">
                      <a16:colId xmlns:a16="http://schemas.microsoft.com/office/drawing/2014/main" val="4231288199"/>
                    </a:ext>
                  </a:extLst>
                </a:gridCol>
                <a:gridCol w="1434571">
                  <a:extLst>
                    <a:ext uri="{9D8B030D-6E8A-4147-A177-3AD203B41FA5}">
                      <a16:colId xmlns:a16="http://schemas.microsoft.com/office/drawing/2014/main" val="523586457"/>
                    </a:ext>
                  </a:extLst>
                </a:gridCol>
              </a:tblGrid>
              <a:tr h="1309681">
                <a:tc gridSpan="2">
                  <a:txBody>
                    <a:bodyPr/>
                    <a:lstStyle/>
                    <a:p>
                      <a:endParaRPr lang="en-US" sz="1300">
                        <a:solidFill>
                          <a:schemeClr val="tx1"/>
                        </a:solidFill>
                        <a:latin typeface="Arial" panose="020B0604020202020204" pitchFamily="34" charset="0"/>
                        <a:cs typeface="Arial" panose="020B0604020202020204" pitchFamily="34" charset="0"/>
                      </a:endParaRPr>
                    </a:p>
                  </a:txBody>
                  <a:tcP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hMerge="1">
                  <a:txBody>
                    <a:bodyPr/>
                    <a:lstStyle/>
                    <a:p>
                      <a:endParaRPr lang="en-US"/>
                    </a:p>
                  </a:txBody>
                  <a:tcPr/>
                </a:tc>
                <a:tc>
                  <a:txBody>
                    <a:bodyPr/>
                    <a:lstStyle/>
                    <a:p>
                      <a:r>
                        <a:rPr lang="en-US" sz="1600" dirty="0">
                          <a:solidFill>
                            <a:schemeClr val="tx1"/>
                          </a:solidFill>
                          <a:latin typeface="Arial"/>
                          <a:cs typeface="Arial"/>
                        </a:rPr>
                        <a:t>Scenario A</a:t>
                      </a:r>
                    </a:p>
                    <a:p>
                      <a:pPr marL="0" indent="0" algn="l" defTabSz="914400" rtl="0" eaLnBrk="1" latinLnBrk="0" hangingPunct="1">
                        <a:lnSpc>
                          <a:spcPct val="90000"/>
                        </a:lnSpc>
                        <a:buClr>
                          <a:schemeClr val="tx1"/>
                        </a:buClr>
                        <a:buSzPct val="100000"/>
                        <a:buFont typeface="Arial" panose="020B0604020202020204" pitchFamily="34" charset="0"/>
                        <a:buNone/>
                      </a:pPr>
                      <a:r>
                        <a:rPr lang="en-US" sz="1600" b="0" spc="0" dirty="0">
                          <a:solidFill>
                            <a:schemeClr val="tx1"/>
                          </a:solidFill>
                          <a:latin typeface="Arial"/>
                        </a:rPr>
                        <a:t>Baseline</a:t>
                      </a:r>
                    </a:p>
                    <a:p>
                      <a:pPr marL="0" indent="0" algn="l" defTabSz="914400" rtl="0" eaLnBrk="1" latinLnBrk="0" hangingPunct="1">
                        <a:lnSpc>
                          <a:spcPct val="90000"/>
                        </a:lnSpc>
                        <a:buClr>
                          <a:schemeClr val="tx1"/>
                        </a:buClr>
                        <a:buSzPct val="100000"/>
                        <a:buFont typeface="Arial" panose="020B0604020202020204" pitchFamily="34" charset="0"/>
                        <a:buNone/>
                      </a:pPr>
                      <a:r>
                        <a:rPr lang="en-US" sz="1600" b="0" kern="1200" spc="0" dirty="0">
                          <a:solidFill>
                            <a:schemeClr val="tx1"/>
                          </a:solidFill>
                          <a:latin typeface="Arial"/>
                          <a:ea typeface="+mn-ea"/>
                          <a:cs typeface="+mn-cs"/>
                        </a:rPr>
                        <a:t>Status quo</a:t>
                      </a:r>
                      <a:endParaRPr lang="en-US" sz="1600" b="0" dirty="0">
                        <a:solidFill>
                          <a:schemeClr val="tx1"/>
                        </a:solidFill>
                        <a:latin typeface="Arial"/>
                        <a:cs typeface="Arial" panose="020B060402020202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defTabSz="914400" rtl="0" eaLnBrk="1" latinLnBrk="0" hangingPunct="1">
                        <a:lnSpc>
                          <a:spcPct val="90000"/>
                        </a:lnSpc>
                        <a:buClr>
                          <a:schemeClr val="tx1"/>
                        </a:buClr>
                        <a:buSzPct val="100000"/>
                        <a:buFont typeface="Arial" panose="020B0604020202020204" pitchFamily="34" charset="0"/>
                        <a:buNone/>
                      </a:pPr>
                      <a:r>
                        <a:rPr lang="en-US" sz="1600" dirty="0">
                          <a:solidFill>
                            <a:schemeClr val="tx1"/>
                          </a:solidFill>
                          <a:latin typeface="Arial"/>
                          <a:cs typeface="Arial"/>
                        </a:rPr>
                        <a:t>Scenario B</a:t>
                      </a:r>
                    </a:p>
                    <a:p>
                      <a:pPr marL="0" indent="0" algn="l" defTabSz="914400" rtl="0" eaLnBrk="1" latinLnBrk="0" hangingPunct="1">
                        <a:lnSpc>
                          <a:spcPct val="90000"/>
                        </a:lnSpc>
                        <a:buClr>
                          <a:schemeClr val="tx1"/>
                        </a:buClr>
                        <a:buSzPct val="100000"/>
                        <a:buFont typeface="Arial" panose="020B0604020202020204" pitchFamily="34" charset="0"/>
                        <a:buNone/>
                      </a:pPr>
                      <a:r>
                        <a:rPr lang="en-US" sz="1600" b="0" spc="0" dirty="0">
                          <a:solidFill>
                            <a:schemeClr val="tx1"/>
                          </a:solidFill>
                          <a:latin typeface="Arial"/>
                        </a:rPr>
                        <a:t>Partial outsourcing </a:t>
                      </a:r>
                    </a:p>
                    <a:p>
                      <a:pPr marL="0" indent="0" algn="l" defTabSz="914400" rtl="0" eaLnBrk="1" latinLnBrk="0" hangingPunct="1">
                        <a:lnSpc>
                          <a:spcPct val="90000"/>
                        </a:lnSpc>
                        <a:buClr>
                          <a:schemeClr val="tx1"/>
                        </a:buClr>
                        <a:buSzPct val="100000"/>
                        <a:buFont typeface="Arial" panose="020B0604020202020204" pitchFamily="34" charset="0"/>
                        <a:buNone/>
                      </a:pPr>
                      <a:r>
                        <a:rPr lang="en-US" sz="1600" b="0" kern="1200" spc="0" dirty="0">
                          <a:solidFill>
                            <a:schemeClr val="tx1"/>
                          </a:solidFill>
                          <a:latin typeface="Arial"/>
                          <a:ea typeface="+mn-ea"/>
                          <a:cs typeface="+mn-cs"/>
                        </a:rPr>
                        <a:t>of smaller good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a:cs typeface="Arial"/>
                        </a:rPr>
                        <a:t>Scenario 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dirty="0">
                          <a:solidFill>
                            <a:schemeClr val="tx1"/>
                          </a:solidFill>
                          <a:latin typeface="Arial"/>
                        </a:rPr>
                        <a:t>Full closure of manufacturing</a:t>
                      </a:r>
                      <a:endParaRPr lang="en-US" sz="1600" b="0" kern="1200" spc="0" dirty="0">
                        <a:solidFill>
                          <a:schemeClr val="tx1"/>
                        </a:solidFill>
                        <a:latin typeface="Arial"/>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a:cs typeface="Arial"/>
                        </a:rPr>
                        <a:t>Scenario 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dirty="0">
                          <a:solidFill>
                            <a:schemeClr val="tx1"/>
                          </a:solidFill>
                          <a:latin typeface="Arial"/>
                        </a:rPr>
                        <a:t>Gradual Cost Recovery Post Closure</a:t>
                      </a:r>
                      <a:endParaRPr lang="en-US" sz="1600" b="0" kern="1200" spc="0" dirty="0">
                        <a:solidFill>
                          <a:schemeClr val="tx1"/>
                        </a:solidFill>
                        <a:latin typeface="Arial"/>
                        <a:ea typeface="+mn-ea"/>
                        <a:cs typeface="+mn-cs"/>
                      </a:endParaRPr>
                    </a:p>
                  </a:txBody>
                  <a:tcP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4161639"/>
                  </a:ext>
                </a:extLst>
              </a:tr>
              <a:tr h="654842">
                <a:tc rowSpan="2">
                  <a:txBody>
                    <a:bodyPr/>
                    <a:lstStyle/>
                    <a:p>
                      <a:r>
                        <a:rPr lang="en-US" sz="1600" b="1" dirty="0">
                          <a:solidFill>
                            <a:schemeClr val="tx1"/>
                          </a:solidFill>
                          <a:latin typeface="Arial"/>
                          <a:cs typeface="Arial"/>
                        </a:rPr>
                        <a:t>Cost </a:t>
                      </a:r>
                    </a:p>
                  </a:txBody>
                  <a:tcP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a:r>
                        <a:rPr lang="en-US" sz="1300" b="1" dirty="0">
                          <a:solidFill>
                            <a:schemeClr val="tx1"/>
                          </a:solidFill>
                          <a:latin typeface="Arial"/>
                          <a:cs typeface="Arial"/>
                        </a:rPr>
                        <a:t>In Hous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3,468,970.73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0,884,496.91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9,255,983.12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9,255,983.12 </a:t>
                      </a:r>
                    </a:p>
                  </a:txBody>
                  <a:tcPr marL="9525" marR="9525" marT="9525"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6269735"/>
                  </a:ext>
                </a:extLst>
              </a:tr>
              <a:tr h="654842">
                <a:tc vMerge="1">
                  <a:txBody>
                    <a:bodyPr/>
                    <a:lstStyle/>
                    <a:p>
                      <a:endParaRPr lang="en-US"/>
                    </a:p>
                  </a:txBody>
                  <a:tcPr/>
                </a:tc>
                <a:tc>
                  <a:txBody>
                    <a:bodyPr/>
                    <a:lstStyle/>
                    <a:p>
                      <a:pPr algn="ctr"/>
                      <a:r>
                        <a:rPr lang="en-US" sz="1300" b="1" dirty="0">
                          <a:solidFill>
                            <a:schemeClr val="tx1"/>
                          </a:solidFill>
                          <a:latin typeface="Arial"/>
                          <a:cs typeface="Arial"/>
                        </a:rPr>
                        <a:t>Outsourced</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 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744,924.41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4,000,000.0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2,604,221.28)</a:t>
                      </a:r>
                    </a:p>
                  </a:txBody>
                  <a:tcPr marL="9525" marR="9525" marT="9525"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1661325"/>
                  </a:ext>
                </a:extLst>
              </a:tr>
              <a:tr h="654842">
                <a:tc rowSpan="2">
                  <a:txBody>
                    <a:bodyPr/>
                    <a:lstStyle/>
                    <a:p>
                      <a:r>
                        <a:rPr lang="en-US" sz="1600" b="1" dirty="0">
                          <a:solidFill>
                            <a:schemeClr val="tx1"/>
                          </a:solidFill>
                          <a:latin typeface="Arial"/>
                          <a:cs typeface="Arial"/>
                        </a:rPr>
                        <a:t>Customer Contribution</a:t>
                      </a:r>
                    </a:p>
                  </a:txBody>
                  <a:tcP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a:r>
                        <a:rPr lang="en-US" sz="1300" b="1" dirty="0">
                          <a:solidFill>
                            <a:schemeClr val="tx1"/>
                          </a:solidFill>
                          <a:latin typeface="Arial"/>
                          <a:cs typeface="Arial"/>
                        </a:rPr>
                        <a:t>Commercial</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215,836.95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215,836.95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 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204,221.08 </a:t>
                      </a:r>
                    </a:p>
                  </a:txBody>
                  <a:tcPr marL="9525" marR="9525" marT="9525"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55261592"/>
                  </a:ext>
                </a:extLst>
              </a:tr>
              <a:tr h="720310">
                <a:tc vMerge="1">
                  <a:txBody>
                    <a:bodyPr/>
                    <a:lstStyle/>
                    <a:p>
                      <a:endParaRPr lang="en-US"/>
                    </a:p>
                  </a:txBody>
                  <a:tcPr/>
                </a:tc>
                <a:tc>
                  <a:txBody>
                    <a:bodyPr/>
                    <a:lstStyle/>
                    <a:p>
                      <a:pPr algn="ctr"/>
                      <a:r>
                        <a:rPr lang="en-US" sz="1300" b="1" dirty="0">
                          <a:solidFill>
                            <a:schemeClr val="tx1"/>
                          </a:solidFill>
                          <a:latin typeface="Arial"/>
                          <a:cs typeface="Arial"/>
                        </a:rPr>
                        <a:t>Non Commercial</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738,762.21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738,762.21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 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 0</a:t>
                      </a:r>
                    </a:p>
                  </a:txBody>
                  <a:tcPr marL="9525" marR="9525" marT="9525"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12633"/>
                  </a:ext>
                </a:extLst>
              </a:tr>
              <a:tr h="654842">
                <a:tc rowSpan="2">
                  <a:txBody>
                    <a:bodyPr/>
                    <a:lstStyle/>
                    <a:p>
                      <a:r>
                        <a:rPr lang="en-US" sz="1600" b="1" dirty="0">
                          <a:solidFill>
                            <a:schemeClr val="tx1"/>
                          </a:solidFill>
                          <a:latin typeface="Arial"/>
                          <a:cs typeface="Arial"/>
                        </a:rPr>
                        <a:t>Sales Volume</a:t>
                      </a:r>
                    </a:p>
                  </a:txBody>
                  <a:tcP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2D2D2"/>
                    </a:solidFill>
                  </a:tcPr>
                </a:tc>
                <a:tc>
                  <a:txBody>
                    <a:bodyPr/>
                    <a:lstStyle/>
                    <a:p>
                      <a:pPr algn="ctr"/>
                      <a:r>
                        <a:rPr lang="en-US" sz="1300" b="1" dirty="0">
                          <a:solidFill>
                            <a:schemeClr val="tx1"/>
                          </a:solidFill>
                          <a:latin typeface="Arial"/>
                          <a:cs typeface="Arial"/>
                        </a:rPr>
                        <a:t>Commercial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91,288.00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91,288.00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 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160,804.00 </a:t>
                      </a:r>
                    </a:p>
                  </a:txBody>
                  <a:tcPr marL="9525" marR="9525" marT="9525" marB="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0564046"/>
                  </a:ext>
                </a:extLst>
              </a:tr>
              <a:tr h="720310">
                <a:tc vMerge="1">
                  <a:txBody>
                    <a:bodyPr/>
                    <a:lstStyle/>
                    <a:p>
                      <a:endParaRPr lang="en-US"/>
                    </a:p>
                  </a:txBody>
                  <a:tcPr/>
                </a:tc>
                <a:tc>
                  <a:txBody>
                    <a:bodyPr/>
                    <a:lstStyle/>
                    <a:p>
                      <a:pPr algn="ctr"/>
                      <a:r>
                        <a:rPr lang="en-US" sz="1300" b="1" dirty="0">
                          <a:solidFill>
                            <a:schemeClr val="tx1"/>
                          </a:solidFill>
                          <a:latin typeface="Arial"/>
                          <a:cs typeface="Arial"/>
                        </a:rPr>
                        <a:t>Non Commercial</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209,459.00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209,459.00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 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solidFill>
                      <a:schemeClr val="bg1">
                        <a:lumMod val="95000"/>
                      </a:schemeClr>
                    </a:solidFill>
                  </a:tcPr>
                </a:tc>
                <a:tc>
                  <a:txBody>
                    <a:bodyPr/>
                    <a:lstStyle/>
                    <a:p>
                      <a:pPr algn="ctr" fontAlgn="b"/>
                      <a:r>
                        <a:rPr lang="en-US" sz="1300" b="0" i="0" u="none" strike="noStrike" dirty="0">
                          <a:solidFill>
                            <a:schemeClr val="tx1"/>
                          </a:solidFill>
                          <a:effectLst/>
                          <a:latin typeface="Arial"/>
                          <a:cs typeface="Arial"/>
                        </a:rPr>
                        <a:t> $ 0</a:t>
                      </a:r>
                    </a:p>
                  </a:txBody>
                  <a:tcPr marL="9525" marR="9525" marT="9525"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2700" cmpd="sng">
                      <a:noFill/>
                    </a:lnB>
                    <a:solidFill>
                      <a:schemeClr val="bg1">
                        <a:lumMod val="95000"/>
                      </a:schemeClr>
                    </a:solidFill>
                  </a:tcPr>
                </a:tc>
                <a:extLst>
                  <a:ext uri="{0D108BD9-81ED-4DB2-BD59-A6C34878D82A}">
                    <a16:rowId xmlns:a16="http://schemas.microsoft.com/office/drawing/2014/main" val="118449928"/>
                  </a:ext>
                </a:extLst>
              </a:tr>
            </a:tbl>
          </a:graphicData>
        </a:graphic>
      </p:graphicFrame>
      <p:sp>
        <p:nvSpPr>
          <p:cNvPr id="10" name="Rectangle 9">
            <a:extLst>
              <a:ext uri="{FF2B5EF4-FFF2-40B4-BE49-F238E27FC236}">
                <a16:creationId xmlns:a16="http://schemas.microsoft.com/office/drawing/2014/main" id="{BCFEF623-9FF7-18BA-6ADA-04E322811A69}"/>
              </a:ext>
            </a:extLst>
          </p:cNvPr>
          <p:cNvSpPr/>
          <p:nvPr/>
        </p:nvSpPr>
        <p:spPr>
          <a:xfrm>
            <a:off x="10031760" y="699874"/>
            <a:ext cx="2160240" cy="281255"/>
          </a:xfrm>
          <a:prstGeom prst="rect">
            <a:avLst/>
          </a:prstGeom>
          <a:noFill/>
          <a:ln w="2540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900"/>
              </a:spcBef>
              <a:spcAft>
                <a:spcPts val="0"/>
              </a:spcAft>
              <a:buClrTx/>
              <a:buSzTx/>
              <a:buFontTx/>
              <a:buNone/>
              <a:tabLst/>
              <a:defRPr/>
            </a:pPr>
            <a:r>
              <a:rPr kumimoji="0" lang="en-US" sz="1200" b="1" i="1" u="none" strike="noStrike" kern="1200" cap="none" spc="0" normalizeH="0" baseline="0" noProof="0">
                <a:ln>
                  <a:noFill/>
                </a:ln>
                <a:solidFill>
                  <a:srgbClr val="1E1E1E"/>
                </a:solidFill>
                <a:effectLst/>
                <a:uLnTx/>
                <a:uFillTx/>
                <a:latin typeface="Arial" pitchFamily="34" charset="0"/>
                <a:ea typeface="+mn-ea"/>
                <a:cs typeface="Arial" pitchFamily="34" charset="0"/>
              </a:rPr>
              <a:t>Recommended Scenario</a:t>
            </a:r>
          </a:p>
        </p:txBody>
      </p:sp>
      <p:sp>
        <p:nvSpPr>
          <p:cNvPr id="11" name="Rectangle 10">
            <a:extLst>
              <a:ext uri="{FF2B5EF4-FFF2-40B4-BE49-F238E27FC236}">
                <a16:creationId xmlns:a16="http://schemas.microsoft.com/office/drawing/2014/main" id="{7988A1FD-9C6C-1E13-B6A0-F5E77C49B1B7}"/>
              </a:ext>
            </a:extLst>
          </p:cNvPr>
          <p:cNvSpPr/>
          <p:nvPr/>
        </p:nvSpPr>
        <p:spPr>
          <a:xfrm>
            <a:off x="10344201" y="921472"/>
            <a:ext cx="1501574" cy="5574467"/>
          </a:xfrm>
          <a:prstGeom prst="rect">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2696B7E-FB30-EA2E-1680-16240054B57E}"/>
              </a:ext>
            </a:extLst>
          </p:cNvPr>
          <p:cNvSpPr txBox="1"/>
          <p:nvPr/>
        </p:nvSpPr>
        <p:spPr>
          <a:xfrm>
            <a:off x="159050" y="4846999"/>
            <a:ext cx="2507950" cy="1311128"/>
          </a:xfrm>
          <a:prstGeom prst="rect">
            <a:avLst/>
          </a:prstGeom>
          <a:noFill/>
        </p:spPr>
        <p:txBody>
          <a:bodyPr wrap="square">
            <a:spAutoFit/>
          </a:bodyPr>
          <a:lstStyle/>
          <a:p>
            <a:pPr>
              <a:lnSpc>
                <a:spcPct val="90000"/>
              </a:lnSpc>
            </a:pPr>
            <a:r>
              <a:rPr lang="en-US" sz="1100" b="1">
                <a:solidFill>
                  <a:schemeClr val="tx1">
                    <a:lumMod val="75000"/>
                    <a:lumOff val="25000"/>
                  </a:schemeClr>
                </a:solidFill>
              </a:rPr>
              <a:t>Assumption :</a:t>
            </a:r>
            <a:br>
              <a:rPr lang="en-US" sz="1100" b="1">
                <a:solidFill>
                  <a:schemeClr val="tx1">
                    <a:lumMod val="75000"/>
                    <a:lumOff val="25000"/>
                  </a:schemeClr>
                </a:solidFill>
              </a:rPr>
            </a:br>
            <a:endParaRPr lang="en-US" sz="1100">
              <a:solidFill>
                <a:schemeClr val="tx1">
                  <a:lumMod val="75000"/>
                  <a:lumOff val="25000"/>
                </a:schemeClr>
              </a:solidFill>
            </a:endParaRPr>
          </a:p>
          <a:p>
            <a:pPr marL="171450" indent="-171450">
              <a:lnSpc>
                <a:spcPct val="90000"/>
              </a:lnSpc>
              <a:buFont typeface="Arial" panose="020B0604020202020204" pitchFamily="34" charset="0"/>
              <a:buChar char="•"/>
            </a:pPr>
            <a:r>
              <a:rPr lang="en-US" sz="1100">
                <a:solidFill>
                  <a:schemeClr val="tx1">
                    <a:lumMod val="75000"/>
                    <a:lumOff val="25000"/>
                  </a:schemeClr>
                </a:solidFill>
              </a:rPr>
              <a:t>If the factory closes in March 2025, we assume it will incur sunk costs for the rest of the year. Based on this, at least half of the total annual cost can be considered sunk.</a:t>
            </a:r>
          </a:p>
        </p:txBody>
      </p:sp>
      <p:sp>
        <p:nvSpPr>
          <p:cNvPr id="17" name="TextBox 16">
            <a:hlinkClick r:id="rId3" action="ppaction://hlinksldjump"/>
            <a:extLst>
              <a:ext uri="{FF2B5EF4-FFF2-40B4-BE49-F238E27FC236}">
                <a16:creationId xmlns:a16="http://schemas.microsoft.com/office/drawing/2014/main" id="{DA10D14C-32F7-2603-EE87-964448E97671}"/>
              </a:ext>
            </a:extLst>
          </p:cNvPr>
          <p:cNvSpPr txBox="1"/>
          <p:nvPr/>
        </p:nvSpPr>
        <p:spPr>
          <a:xfrm>
            <a:off x="380228" y="3029951"/>
            <a:ext cx="1453924" cy="193899"/>
          </a:xfrm>
          <a:prstGeom prst="rect">
            <a:avLst/>
          </a:prstGeom>
          <a:noFill/>
        </p:spPr>
        <p:txBody>
          <a:bodyPr wrap="none" lIns="0" tIns="0" rIns="0" bIns="0" rtlCol="0">
            <a:spAutoFit/>
          </a:bodyPr>
          <a:lstStyle/>
          <a:p>
            <a:pPr algn="l">
              <a:lnSpc>
                <a:spcPct val="90000"/>
              </a:lnSpc>
            </a:pPr>
            <a:r>
              <a:rPr lang="en-US" sz="1400">
                <a:solidFill>
                  <a:schemeClr val="accent3"/>
                </a:solidFill>
                <a:hlinkClick r:id="rId4" action="ppaction://hlinksldjump">
                  <a:extLst>
                    <a:ext uri="{A12FA001-AC4F-418D-AE19-62706E023703}">
                      <ahyp:hlinkClr xmlns:ahyp="http://schemas.microsoft.com/office/drawing/2018/hyperlinkcolor" val="tx"/>
                    </a:ext>
                  </a:extLst>
                </a:hlinkClick>
              </a:rPr>
              <a:t>Back to main slide</a:t>
            </a:r>
            <a:endParaRPr lang="en-US" sz="1400">
              <a:solidFill>
                <a:schemeClr val="accent3"/>
              </a:solidFill>
            </a:endParaRPr>
          </a:p>
        </p:txBody>
      </p:sp>
    </p:spTree>
    <p:extLst>
      <p:ext uri="{BB962C8B-B14F-4D97-AF65-F5344CB8AC3E}">
        <p14:creationId xmlns:p14="http://schemas.microsoft.com/office/powerpoint/2010/main" val="212731831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403BD-15B6-F840-271D-CA81C9020BDC}"/>
            </a:ext>
          </a:extLst>
        </p:cNvPr>
        <p:cNvGrpSpPr/>
        <p:nvPr/>
      </p:nvGrpSpPr>
      <p:grpSpPr>
        <a:xfrm>
          <a:off x="0" y="0"/>
          <a:ext cx="0" cy="0"/>
          <a:chOff x="0" y="0"/>
          <a:chExt cx="0" cy="0"/>
        </a:xfrm>
      </p:grpSpPr>
      <p:sp>
        <p:nvSpPr>
          <p:cNvPr id="13" name="Rectangle 2">
            <a:extLst>
              <a:ext uri="{FF2B5EF4-FFF2-40B4-BE49-F238E27FC236}">
                <a16:creationId xmlns:a16="http://schemas.microsoft.com/office/drawing/2014/main" id="{EEA641FD-1056-8001-136A-DE490CCAD006}"/>
              </a:ext>
            </a:extLst>
          </p:cNvPr>
          <p:cNvSpPr>
            <a:spLocks noGrp="1" noChangeArrowheads="1"/>
          </p:cNvSpPr>
          <p:nvPr>
            <p:ph type="title"/>
          </p:nvPr>
        </p:nvSpPr>
        <p:spPr/>
        <p:txBody>
          <a:bodyPr vert="horz"/>
          <a:lstStyle/>
          <a:p>
            <a:r>
              <a:rPr lang="en-US"/>
              <a:t>Appendix 2.2</a:t>
            </a:r>
          </a:p>
        </p:txBody>
      </p:sp>
      <p:sp>
        <p:nvSpPr>
          <p:cNvPr id="3" name="Rectangle 2">
            <a:extLst>
              <a:ext uri="{FF2B5EF4-FFF2-40B4-BE49-F238E27FC236}">
                <a16:creationId xmlns:a16="http://schemas.microsoft.com/office/drawing/2014/main" id="{37A35367-4BCD-8403-E9E9-78EC9CF8E266}"/>
              </a:ext>
            </a:extLst>
          </p:cNvPr>
          <p:cNvSpPr/>
          <p:nvPr/>
        </p:nvSpPr>
        <p:spPr>
          <a:xfrm>
            <a:off x="3048000" y="0"/>
            <a:ext cx="3048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5" name="Rectangle 4">
            <a:extLst>
              <a:ext uri="{FF2B5EF4-FFF2-40B4-BE49-F238E27FC236}">
                <a16:creationId xmlns:a16="http://schemas.microsoft.com/office/drawing/2014/main" id="{AB82C9B4-7823-A1F6-BD0B-7CD66685B711}"/>
              </a:ext>
            </a:extLst>
          </p:cNvPr>
          <p:cNvSpPr/>
          <p:nvPr/>
        </p:nvSpPr>
        <p:spPr>
          <a:xfrm>
            <a:off x="3225027" y="6303700"/>
            <a:ext cx="3722783" cy="18489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90000"/>
              </a:lnSpc>
            </a:pPr>
            <a:r>
              <a:rPr lang="en-US" sz="700" dirty="0">
                <a:solidFill>
                  <a:schemeClr val="tx1"/>
                </a:solidFill>
                <a:latin typeface="Arial"/>
                <a:cs typeface="Arial"/>
              </a:rPr>
              <a:t>Source: Internal Data</a:t>
            </a:r>
            <a:endParaRPr lang="en-US" sz="700" dirty="0">
              <a:solidFill>
                <a:schemeClr val="tx1"/>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29898793-BD9A-2A55-1ABB-B8FA64191E71}"/>
              </a:ext>
            </a:extLst>
          </p:cNvPr>
          <p:cNvSpPr txBox="1">
            <a:spLocks/>
          </p:cNvSpPr>
          <p:nvPr/>
        </p:nvSpPr>
        <p:spPr bwMode="gray">
          <a:xfrm>
            <a:off x="3225027" y="749300"/>
            <a:ext cx="2668681" cy="2215991"/>
          </a:xfrm>
          <a:prstGeom prst="rect">
            <a:avLst/>
          </a:prstGeom>
        </p:spPr>
        <p:txBody>
          <a:bodyPr vert="horz" wrap="square" lIns="0" tIns="0" rIns="0" bIns="0" rtlCol="0" anchor="t" anchorCtr="0">
            <a:no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r>
              <a:rPr lang="en-US">
                <a:solidFill>
                  <a:schemeClr val="tx1"/>
                </a:solidFill>
              </a:rPr>
              <a:t>Key Considerations</a:t>
            </a:r>
          </a:p>
          <a:p>
            <a:endParaRPr lang="en-US" b="0">
              <a:solidFill>
                <a:schemeClr val="tx1"/>
              </a:solidFill>
            </a:endParaRPr>
          </a:p>
          <a:p>
            <a:pPr marL="457200" indent="-457200">
              <a:buAutoNum type="arabicPeriod"/>
            </a:pPr>
            <a:r>
              <a:rPr lang="en-US" sz="1600" b="0">
                <a:solidFill>
                  <a:schemeClr val="tx1"/>
                </a:solidFill>
              </a:rPr>
              <a:t>Outsourcing costs should be maintained for the initial year(s)</a:t>
            </a:r>
          </a:p>
          <a:p>
            <a:pPr marL="457200" indent="-457200">
              <a:buAutoNum type="arabicPeriod"/>
            </a:pPr>
            <a:endParaRPr lang="en-US" sz="1600" b="0">
              <a:solidFill>
                <a:schemeClr val="tx1"/>
              </a:solidFill>
            </a:endParaRPr>
          </a:p>
          <a:p>
            <a:pPr marL="457200" indent="-457200">
              <a:buAutoNum type="arabicPeriod"/>
            </a:pPr>
            <a:r>
              <a:rPr lang="en-US" sz="1600" b="0">
                <a:solidFill>
                  <a:schemeClr val="tx1"/>
                </a:solidFill>
              </a:rPr>
              <a:t>Labor that was laid off from previous year would be compensated for 6 more months</a:t>
            </a:r>
            <a:endParaRPr lang="en-US" b="0">
              <a:solidFill>
                <a:schemeClr val="tx1"/>
              </a:solidFill>
            </a:endParaRPr>
          </a:p>
        </p:txBody>
      </p:sp>
      <p:sp>
        <p:nvSpPr>
          <p:cNvPr id="7" name="Title 1">
            <a:extLst>
              <a:ext uri="{FF2B5EF4-FFF2-40B4-BE49-F238E27FC236}">
                <a16:creationId xmlns:a16="http://schemas.microsoft.com/office/drawing/2014/main" id="{91D3B9AD-CC85-232A-BE23-8DFDBF6F7141}"/>
              </a:ext>
            </a:extLst>
          </p:cNvPr>
          <p:cNvSpPr txBox="1">
            <a:spLocks/>
          </p:cNvSpPr>
          <p:nvPr/>
        </p:nvSpPr>
        <p:spPr bwMode="gray">
          <a:xfrm>
            <a:off x="3225027" y="3416300"/>
            <a:ext cx="2668681" cy="2215991"/>
          </a:xfrm>
          <a:prstGeom prst="rect">
            <a:avLst/>
          </a:prstGeom>
        </p:spPr>
        <p:txBody>
          <a:bodyPr vert="horz" wrap="square" lIns="0" tIns="0" rIns="0" bIns="0" rtlCol="0" anchor="t" anchorCtr="0">
            <a:no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r>
              <a:rPr lang="en-US">
                <a:solidFill>
                  <a:schemeClr val="tx1"/>
                </a:solidFill>
              </a:rPr>
              <a:t>Implications</a:t>
            </a:r>
          </a:p>
          <a:p>
            <a:endParaRPr lang="en-US" b="0">
              <a:solidFill>
                <a:schemeClr val="tx1"/>
              </a:solidFill>
            </a:endParaRPr>
          </a:p>
          <a:p>
            <a:pPr marL="457200" indent="-457200">
              <a:buAutoNum type="arabicPeriod"/>
            </a:pPr>
            <a:r>
              <a:rPr lang="en-US" sz="1600" b="0">
                <a:solidFill>
                  <a:schemeClr val="tx1"/>
                </a:solidFill>
              </a:rPr>
              <a:t>Scalable &amp; effective in long term </a:t>
            </a:r>
          </a:p>
          <a:p>
            <a:pPr marL="457200" indent="-457200">
              <a:buAutoNum type="arabicPeriod"/>
            </a:pPr>
            <a:endParaRPr lang="en-US" sz="1600" b="0">
              <a:solidFill>
                <a:schemeClr val="tx1"/>
              </a:solidFill>
            </a:endParaRPr>
          </a:p>
          <a:p>
            <a:pPr marL="457200" indent="-457200">
              <a:buAutoNum type="arabicPeriod"/>
            </a:pPr>
            <a:r>
              <a:rPr lang="en-US" sz="1600" b="0">
                <a:solidFill>
                  <a:schemeClr val="tx1"/>
                </a:solidFill>
              </a:rPr>
              <a:t>Risk is reduced</a:t>
            </a:r>
            <a:br>
              <a:rPr lang="en-US" sz="1600" b="0">
                <a:solidFill>
                  <a:schemeClr val="tx1"/>
                </a:solidFill>
              </a:rPr>
            </a:br>
            <a:endParaRPr lang="en-US" sz="1600" b="0">
              <a:solidFill>
                <a:schemeClr val="tx1"/>
              </a:solidFill>
            </a:endParaRPr>
          </a:p>
          <a:p>
            <a:pPr marL="457200" indent="-457200">
              <a:buAutoNum type="arabicPeriod"/>
            </a:pPr>
            <a:r>
              <a:rPr lang="en-US" sz="1600" b="0">
                <a:solidFill>
                  <a:schemeClr val="tx1"/>
                </a:solidFill>
              </a:rPr>
              <a:t>Calls for Change Management</a:t>
            </a:r>
          </a:p>
        </p:txBody>
      </p:sp>
      <p:sp>
        <p:nvSpPr>
          <p:cNvPr id="8" name="TextBox 7">
            <a:extLst>
              <a:ext uri="{FF2B5EF4-FFF2-40B4-BE49-F238E27FC236}">
                <a16:creationId xmlns:a16="http://schemas.microsoft.com/office/drawing/2014/main" id="{AF9D54F5-C791-CDBD-D873-60BE740C6FF1}"/>
              </a:ext>
            </a:extLst>
          </p:cNvPr>
          <p:cNvSpPr txBox="1"/>
          <p:nvPr/>
        </p:nvSpPr>
        <p:spPr>
          <a:xfrm>
            <a:off x="380228" y="3623264"/>
            <a:ext cx="2507166" cy="1523494"/>
          </a:xfrm>
          <a:prstGeom prst="rect">
            <a:avLst/>
          </a:prstGeom>
          <a:noFill/>
        </p:spPr>
        <p:txBody>
          <a:bodyPr wrap="square" lIns="0" tIns="0" rIns="0" bIns="0" rtlCol="0">
            <a:spAutoFit/>
          </a:bodyPr>
          <a:lstStyle/>
          <a:p>
            <a:pPr>
              <a:lnSpc>
                <a:spcPct val="90000"/>
              </a:lnSpc>
            </a:pPr>
            <a:r>
              <a:rPr lang="en-US" sz="1100" b="1">
                <a:solidFill>
                  <a:schemeClr val="tx1">
                    <a:lumMod val="75000"/>
                    <a:lumOff val="25000"/>
                  </a:schemeClr>
                </a:solidFill>
              </a:rPr>
              <a:t>Assumptions :</a:t>
            </a:r>
            <a:br>
              <a:rPr lang="en-US" sz="1100" b="1">
                <a:solidFill>
                  <a:schemeClr val="tx1">
                    <a:lumMod val="75000"/>
                    <a:lumOff val="25000"/>
                  </a:schemeClr>
                </a:solidFill>
              </a:rPr>
            </a:br>
            <a:endParaRPr lang="en-US" sz="1100">
              <a:solidFill>
                <a:schemeClr val="tx1">
                  <a:lumMod val="75000"/>
                  <a:lumOff val="25000"/>
                </a:schemeClr>
              </a:solidFill>
            </a:endParaRPr>
          </a:p>
          <a:p>
            <a:pPr marL="171450" indent="-171450">
              <a:lnSpc>
                <a:spcPct val="90000"/>
              </a:lnSpc>
              <a:buFont typeface="Arial" panose="020B0604020202020204" pitchFamily="34" charset="0"/>
              <a:buChar char="•"/>
            </a:pPr>
            <a:r>
              <a:rPr lang="en-US" sz="1100">
                <a:solidFill>
                  <a:schemeClr val="tx1">
                    <a:lumMod val="75000"/>
                    <a:lumOff val="25000"/>
                  </a:schemeClr>
                </a:solidFill>
              </a:rPr>
              <a:t>We factor in outsourcing quotes to estimate potential sales volume for Year 1. Since it would be the first year to outsource, production might only go as high as 80%</a:t>
            </a:r>
            <a:br>
              <a:rPr lang="en-US" sz="1100">
                <a:solidFill>
                  <a:schemeClr val="tx1">
                    <a:lumMod val="75000"/>
                    <a:lumOff val="25000"/>
                  </a:schemeClr>
                </a:solidFill>
              </a:rPr>
            </a:br>
            <a:endParaRPr lang="en-US" sz="1100">
              <a:solidFill>
                <a:schemeClr val="tx1">
                  <a:lumMod val="75000"/>
                  <a:lumOff val="25000"/>
                </a:schemeClr>
              </a:solidFill>
            </a:endParaRPr>
          </a:p>
          <a:p>
            <a:pPr marL="171450" indent="-171450">
              <a:lnSpc>
                <a:spcPct val="90000"/>
              </a:lnSpc>
              <a:buFont typeface="Arial" panose="020B0604020202020204" pitchFamily="34" charset="0"/>
              <a:buChar char="•"/>
            </a:pPr>
            <a:r>
              <a:rPr lang="en-US" sz="1100">
                <a:solidFill>
                  <a:schemeClr val="tx1">
                    <a:lumMod val="75000"/>
                    <a:lumOff val="25000"/>
                  </a:schemeClr>
                </a:solidFill>
              </a:rPr>
              <a:t>Each month production increases by 10%</a:t>
            </a:r>
          </a:p>
        </p:txBody>
      </p:sp>
      <p:sp>
        <p:nvSpPr>
          <p:cNvPr id="9" name="Rounded Rectangle 8">
            <a:extLst>
              <a:ext uri="{FF2B5EF4-FFF2-40B4-BE49-F238E27FC236}">
                <a16:creationId xmlns:a16="http://schemas.microsoft.com/office/drawing/2014/main" id="{63999B2F-88D9-FA59-C231-79918C9E13E4}"/>
              </a:ext>
            </a:extLst>
          </p:cNvPr>
          <p:cNvSpPr/>
          <p:nvPr/>
        </p:nvSpPr>
        <p:spPr>
          <a:xfrm>
            <a:off x="6184900" y="5537200"/>
            <a:ext cx="2959100" cy="660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r>
              <a:rPr lang="en-US" sz="1400">
                <a:solidFill>
                  <a:schemeClr val="tx1"/>
                </a:solidFill>
              </a:rPr>
              <a:t>Gradually shifting into outsourcing may become profitable. </a:t>
            </a:r>
          </a:p>
        </p:txBody>
      </p:sp>
      <p:sp>
        <p:nvSpPr>
          <p:cNvPr id="15" name="Rounded Rectangle 14">
            <a:extLst>
              <a:ext uri="{FF2B5EF4-FFF2-40B4-BE49-F238E27FC236}">
                <a16:creationId xmlns:a16="http://schemas.microsoft.com/office/drawing/2014/main" id="{0174E373-C2CA-97ED-EBD2-B1A13AA53EA5}"/>
              </a:ext>
            </a:extLst>
          </p:cNvPr>
          <p:cNvSpPr/>
          <p:nvPr/>
        </p:nvSpPr>
        <p:spPr>
          <a:xfrm>
            <a:off x="9232900" y="5537200"/>
            <a:ext cx="2578100" cy="660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1400">
                <a:solidFill>
                  <a:schemeClr val="tx1"/>
                </a:solidFill>
              </a:rPr>
              <a:t>Total Cost ~ $ 1.7 M</a:t>
            </a:r>
          </a:p>
          <a:p>
            <a:pPr algn="ctr">
              <a:lnSpc>
                <a:spcPct val="90000"/>
              </a:lnSpc>
            </a:pPr>
            <a:r>
              <a:rPr lang="en-US" sz="1400">
                <a:solidFill>
                  <a:schemeClr val="tx1"/>
                </a:solidFill>
              </a:rPr>
              <a:t>Potential Customer Contribution ~ $ 204 K</a:t>
            </a:r>
          </a:p>
        </p:txBody>
      </p:sp>
      <p:graphicFrame>
        <p:nvGraphicFramePr>
          <p:cNvPr id="16" name="Chart 15">
            <a:extLst>
              <a:ext uri="{FF2B5EF4-FFF2-40B4-BE49-F238E27FC236}">
                <a16:creationId xmlns:a16="http://schemas.microsoft.com/office/drawing/2014/main" id="{64A5444D-846B-E7C5-4610-3608F2B8246A}"/>
              </a:ext>
            </a:extLst>
          </p:cNvPr>
          <p:cNvGraphicFramePr/>
          <p:nvPr/>
        </p:nvGraphicFramePr>
        <p:xfrm>
          <a:off x="6184900" y="1019849"/>
          <a:ext cx="5786706" cy="4517351"/>
        </p:xfrm>
        <a:graphic>
          <a:graphicData uri="http://schemas.openxmlformats.org/drawingml/2006/chart">
            <c:chart xmlns:c="http://schemas.openxmlformats.org/drawingml/2006/chart" xmlns:r="http://schemas.openxmlformats.org/officeDocument/2006/relationships" r:id="rId3"/>
          </a:graphicData>
        </a:graphic>
      </p:graphicFrame>
      <p:sp>
        <p:nvSpPr>
          <p:cNvPr id="17" name="Rounded Rectangular Callout 16">
            <a:extLst>
              <a:ext uri="{FF2B5EF4-FFF2-40B4-BE49-F238E27FC236}">
                <a16:creationId xmlns:a16="http://schemas.microsoft.com/office/drawing/2014/main" id="{7BED91F2-F34E-5215-C013-559600CA38DD}"/>
              </a:ext>
            </a:extLst>
          </p:cNvPr>
          <p:cNvSpPr/>
          <p:nvPr/>
        </p:nvSpPr>
        <p:spPr>
          <a:xfrm>
            <a:off x="9784080" y="3416300"/>
            <a:ext cx="2026920" cy="660400"/>
          </a:xfrm>
          <a:prstGeom prst="wedgeRoundRectCallout">
            <a:avLst>
              <a:gd name="adj1" fmla="val 38582"/>
              <a:gd name="adj2" fmla="val -213771"/>
              <a:gd name="adj3" fmla="val 16667"/>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US" sz="1200">
                <a:solidFill>
                  <a:schemeClr val="tx1"/>
                </a:solidFill>
              </a:rPr>
              <a:t>More scalable in the long run (following years)</a:t>
            </a:r>
          </a:p>
        </p:txBody>
      </p:sp>
      <p:sp>
        <p:nvSpPr>
          <p:cNvPr id="18" name="TextBox 17">
            <a:hlinkClick r:id="rId4" action="ppaction://hlinksldjump"/>
            <a:extLst>
              <a:ext uri="{FF2B5EF4-FFF2-40B4-BE49-F238E27FC236}">
                <a16:creationId xmlns:a16="http://schemas.microsoft.com/office/drawing/2014/main" id="{4E9049EC-5ECC-8660-BE8D-952157F337E6}"/>
              </a:ext>
            </a:extLst>
          </p:cNvPr>
          <p:cNvSpPr txBox="1"/>
          <p:nvPr/>
        </p:nvSpPr>
        <p:spPr>
          <a:xfrm>
            <a:off x="380228" y="3029951"/>
            <a:ext cx="1453924" cy="193899"/>
          </a:xfrm>
          <a:prstGeom prst="rect">
            <a:avLst/>
          </a:prstGeom>
          <a:noFill/>
        </p:spPr>
        <p:txBody>
          <a:bodyPr wrap="none" lIns="0" tIns="0" rIns="0" bIns="0" rtlCol="0">
            <a:spAutoFit/>
          </a:bodyPr>
          <a:lstStyle/>
          <a:p>
            <a:pPr algn="l">
              <a:lnSpc>
                <a:spcPct val="90000"/>
              </a:lnSpc>
            </a:pPr>
            <a:r>
              <a:rPr lang="en-US" sz="1400">
                <a:solidFill>
                  <a:schemeClr val="accent3"/>
                </a:solidFill>
                <a:hlinkClick r:id="rId5" action="ppaction://hlinksldjump">
                  <a:extLst>
                    <a:ext uri="{A12FA001-AC4F-418D-AE19-62706E023703}">
                      <ahyp:hlinkClr xmlns:ahyp="http://schemas.microsoft.com/office/drawing/2018/hyperlinkcolor" val="tx"/>
                    </a:ext>
                  </a:extLst>
                </a:hlinkClick>
              </a:rPr>
              <a:t>Back to main slide</a:t>
            </a:r>
            <a:endParaRPr lang="en-US" sz="1400">
              <a:solidFill>
                <a:schemeClr val="accent3"/>
              </a:solidFill>
            </a:endParaRPr>
          </a:p>
        </p:txBody>
      </p:sp>
    </p:spTree>
    <p:extLst>
      <p:ext uri="{BB962C8B-B14F-4D97-AF65-F5344CB8AC3E}">
        <p14:creationId xmlns:p14="http://schemas.microsoft.com/office/powerpoint/2010/main" val="32253891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5FAAD1F-B51F-D7E9-B238-43A9B6AB6503}"/>
              </a:ext>
            </a:extLst>
          </p:cNvPr>
          <p:cNvSpPr>
            <a:spLocks noGrp="1"/>
          </p:cNvSpPr>
          <p:nvPr>
            <p:ph type="title"/>
          </p:nvPr>
        </p:nvSpPr>
        <p:spPr/>
        <p:txBody>
          <a:bodyPr/>
          <a:lstStyle/>
          <a:p>
            <a:r>
              <a:rPr lang="zh-CN" altLang="en-US">
                <a:ea typeface="黑体"/>
                <a:cs typeface="Arial"/>
              </a:rPr>
              <a:t>Appendix </a:t>
            </a:r>
            <a:r>
              <a:rPr lang="en-US" altLang="zh-CN">
                <a:ea typeface="黑体"/>
                <a:cs typeface="Arial"/>
              </a:rPr>
              <a:t>3</a:t>
            </a:r>
            <a:r>
              <a:rPr lang="zh-CN" altLang="en-US">
                <a:ea typeface="黑体"/>
                <a:cs typeface="Arial"/>
              </a:rPr>
              <a:t>.1</a:t>
            </a:r>
            <a:endParaRPr lang="zh-CN" altLang="en-US"/>
          </a:p>
        </p:txBody>
      </p:sp>
      <p:graphicFrame>
        <p:nvGraphicFramePr>
          <p:cNvPr id="4" name="Table 8">
            <a:extLst>
              <a:ext uri="{FF2B5EF4-FFF2-40B4-BE49-F238E27FC236}">
                <a16:creationId xmlns:a16="http://schemas.microsoft.com/office/drawing/2014/main" id="{33750E14-E657-8526-DC95-3C486AB3D57E}"/>
              </a:ext>
            </a:extLst>
          </p:cNvPr>
          <p:cNvGraphicFramePr>
            <a:graphicFrameLocks noGrp="1"/>
          </p:cNvGraphicFramePr>
          <p:nvPr>
            <p:extLst>
              <p:ext uri="{D42A27DB-BD31-4B8C-83A1-F6EECF244321}">
                <p14:modId xmlns:p14="http://schemas.microsoft.com/office/powerpoint/2010/main" val="4236061428"/>
              </p:ext>
            </p:extLst>
          </p:nvPr>
        </p:nvGraphicFramePr>
        <p:xfrm>
          <a:off x="3400402" y="829857"/>
          <a:ext cx="7255484" cy="1944651"/>
        </p:xfrm>
        <a:graphic>
          <a:graphicData uri="http://schemas.openxmlformats.org/drawingml/2006/table">
            <a:tbl>
              <a:tblPr firstRow="1" bandRow="1">
                <a:tableStyleId>{5C22544A-7EE6-4342-B048-85BDC9FD1C3A}</a:tableStyleId>
              </a:tblPr>
              <a:tblGrid>
                <a:gridCol w="1742017">
                  <a:extLst>
                    <a:ext uri="{9D8B030D-6E8A-4147-A177-3AD203B41FA5}">
                      <a16:colId xmlns:a16="http://schemas.microsoft.com/office/drawing/2014/main" val="1830448546"/>
                    </a:ext>
                  </a:extLst>
                </a:gridCol>
                <a:gridCol w="2391583">
                  <a:extLst>
                    <a:ext uri="{9D8B030D-6E8A-4147-A177-3AD203B41FA5}">
                      <a16:colId xmlns:a16="http://schemas.microsoft.com/office/drawing/2014/main" val="2717700058"/>
                    </a:ext>
                  </a:extLst>
                </a:gridCol>
                <a:gridCol w="3121884">
                  <a:extLst>
                    <a:ext uri="{9D8B030D-6E8A-4147-A177-3AD203B41FA5}">
                      <a16:colId xmlns:a16="http://schemas.microsoft.com/office/drawing/2014/main" val="1986671586"/>
                    </a:ext>
                  </a:extLst>
                </a:gridCol>
              </a:tblGrid>
              <a:tr h="676401">
                <a:tc>
                  <a:txBody>
                    <a:bodyPr/>
                    <a:lstStyle/>
                    <a:p>
                      <a:pPr algn="ctr"/>
                      <a:r>
                        <a:rPr lang="en-US" sz="1200" b="1">
                          <a:solidFill>
                            <a:schemeClr val="tx1"/>
                          </a:solidFill>
                        </a:rPr>
                        <a:t>Brand</a:t>
                      </a:r>
                    </a:p>
                  </a:txBody>
                  <a:tcPr anchor="ctr">
                    <a:lnL w="12700" cmpd="sng">
                      <a:noFill/>
                    </a:lnL>
                    <a:lnR w="12700" cmpd="sng">
                      <a:noFill/>
                    </a:lnR>
                    <a:lnT w="12700" cmpd="sng">
                      <a:noFill/>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90000"/>
                        </a:lnSpc>
                        <a:spcBef>
                          <a:spcPts val="0"/>
                        </a:spcBef>
                        <a:spcAft>
                          <a:spcPts val="500"/>
                        </a:spcAft>
                        <a:buClrTx/>
                        <a:buSzTx/>
                        <a:buNone/>
                      </a:pPr>
                      <a:r>
                        <a:rPr lang="en-US" sz="1200" b="1" i="0" u="none" strike="noStrike" kern="1200" cap="none" spc="0" normalizeH="0" baseline="0" noProof="0" dirty="0">
                          <a:ln>
                            <a:noFill/>
                          </a:ln>
                          <a:solidFill>
                            <a:srgbClr val="1E1E1E"/>
                          </a:solidFill>
                          <a:effectLst/>
                          <a:uLnTx/>
                          <a:uFillTx/>
                          <a:latin typeface="Arial" panose="020B0604020202020204"/>
                          <a:ea typeface="+mn-ea"/>
                          <a:cs typeface="+mn-cs"/>
                        </a:rPr>
                        <a:t>Durable Goods Percentage</a:t>
                      </a:r>
                      <a:endParaRPr kumimoji="0" lang="en-US" sz="1200" b="1" i="0" u="none" strike="noStrike" kern="1200" cap="none" spc="0" normalizeH="0" baseline="0" noProof="0" dirty="0">
                        <a:ln>
                          <a:noFill/>
                        </a:ln>
                        <a:solidFill>
                          <a:srgbClr val="1E1E1E"/>
                        </a:solidFill>
                        <a:effectLst/>
                        <a:uLnTx/>
                        <a:uFillTx/>
                        <a:latin typeface="Arial" panose="020B0604020202020204"/>
                        <a:ea typeface="+mn-ea"/>
                        <a:cs typeface="+mn-cs"/>
                      </a:endParaRPr>
                    </a:p>
                  </a:txBody>
                  <a:tcPr anchor="ctr">
                    <a:lnL w="12700" cmpd="sng">
                      <a:noFill/>
                    </a:lnL>
                    <a:lnR w="12700" cmpd="sng">
                      <a:noFill/>
                    </a:lnR>
                    <a:lnT w="12700" cmpd="sng">
                      <a:noFill/>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90000"/>
                        </a:lnSpc>
                        <a:spcBef>
                          <a:spcPts val="0"/>
                        </a:spcBef>
                        <a:spcAft>
                          <a:spcPts val="500"/>
                        </a:spcAft>
                        <a:buNone/>
                      </a:pPr>
                      <a:r>
                        <a:rPr lang="en-US" sz="1200" b="1" i="0" u="none" strike="noStrike" kern="1200" cap="none" spc="0" normalizeH="0" baseline="0" noProof="0" dirty="0">
                          <a:ln>
                            <a:noFill/>
                          </a:ln>
                          <a:solidFill>
                            <a:srgbClr val="1E1E1E"/>
                          </a:solidFill>
                          <a:effectLst/>
                          <a:uLnTx/>
                          <a:uFillTx/>
                          <a:latin typeface="Arial" panose="020B0604020202020204"/>
                          <a:ea typeface="+mn-ea"/>
                          <a:cs typeface="+mn-cs"/>
                        </a:rPr>
                        <a:t>Durable Goods Profit from Target Goods</a:t>
                      </a:r>
                      <a:endParaRPr kumimoji="0" lang="en-US" sz="1200" b="1" i="0" u="none" strike="noStrike" kern="1200" cap="none" spc="0" normalizeH="0" baseline="0" noProof="0" dirty="0">
                        <a:ln>
                          <a:noFill/>
                        </a:ln>
                        <a:solidFill>
                          <a:srgbClr val="1E1E1E"/>
                        </a:solidFill>
                        <a:effectLst/>
                        <a:uLnTx/>
                        <a:uFillTx/>
                        <a:latin typeface="Arial"/>
                        <a:ea typeface="+mn-ea"/>
                        <a:cs typeface="+mn-cs"/>
                      </a:endParaRPr>
                    </a:p>
                  </a:txBody>
                  <a:tcPr anchor="ctr">
                    <a:lnL w="0">
                      <a:noFill/>
                    </a:lnL>
                    <a:lnR w="0">
                      <a:noFill/>
                    </a:lnR>
                    <a:lnT w="0">
                      <a:noFill/>
                    </a:lnT>
                    <a:lnB w="28575">
                      <a:solidFill>
                        <a:schemeClr val="tx2">
                          <a:lumMod val="20000"/>
                          <a:lumOff val="80000"/>
                        </a:schemeClr>
                      </a:solidFill>
                    </a:lnB>
                    <a:lnTlToBr w="0">
                      <a:noFill/>
                    </a:lnTlToBr>
                    <a:lnBlToTr w="0">
                      <a:noFill/>
                    </a:lnBlToTr>
                    <a:noFill/>
                  </a:tcPr>
                </a:tc>
                <a:extLst>
                  <a:ext uri="{0D108BD9-81ED-4DB2-BD59-A6C34878D82A}">
                    <a16:rowId xmlns:a16="http://schemas.microsoft.com/office/drawing/2014/main" val="816191715"/>
                  </a:ext>
                </a:extLst>
              </a:tr>
              <a:tr h="422750">
                <a:tc>
                  <a:txBody>
                    <a:bodyPr/>
                    <a:lstStyle/>
                    <a:p>
                      <a:pPr algn="ctr"/>
                      <a:r>
                        <a:rPr lang="en-US" sz="1200" b="0" dirty="0">
                          <a:solidFill>
                            <a:schemeClr val="tx1"/>
                          </a:solidFill>
                        </a:rPr>
                        <a:t>Brand D</a:t>
                      </a:r>
                    </a:p>
                  </a:txBody>
                  <a:tcPr anchor="ctr">
                    <a:lnL w="12700" cmpd="sng">
                      <a:noFill/>
                    </a:lnL>
                    <a:lnR w="12700" cmpd="sng">
                      <a:noFill/>
                    </a:lnR>
                    <a:lnT w="28575" cap="flat" cmpd="sng" algn="ctr">
                      <a:solidFill>
                        <a:schemeClr val="tx2">
                          <a:lumMod val="20000"/>
                          <a:lumOff val="80000"/>
                        </a:schemeClr>
                      </a:solidFill>
                      <a:prstDash val="solid"/>
                      <a:round/>
                      <a:headEnd type="none" w="med" len="med"/>
                      <a:tailEnd type="none" w="med" len="med"/>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500"/>
                        </a:spcAft>
                        <a:buClrTx/>
                        <a:buSzTx/>
                        <a:buNone/>
                        <a:tabLst/>
                        <a:defRPr/>
                      </a:pPr>
                      <a:r>
                        <a:rPr lang="en-US" sz="1200" b="0" i="0" u="none" strike="noStrike" kern="1200" cap="none" spc="0" normalizeH="0" baseline="0" noProof="0">
                          <a:ln>
                            <a:noFill/>
                          </a:ln>
                          <a:solidFill>
                            <a:srgbClr val="1E1E1E"/>
                          </a:solidFill>
                          <a:effectLst/>
                          <a:uLnTx/>
                          <a:uFillTx/>
                          <a:latin typeface="Arial" panose="020B0604020202020204"/>
                          <a:ea typeface="+mn-ea"/>
                          <a:cs typeface="+mn-cs"/>
                        </a:rPr>
                        <a:t>84.9%</a:t>
                      </a: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a:txBody>
                  <a:tcPr anchor="ctr">
                    <a:lnL w="12700" cmpd="sng">
                      <a:noFill/>
                    </a:lnL>
                    <a:lnR w="12700" cmpd="sng">
                      <a:noFill/>
                    </a:lnR>
                    <a:lnT w="28575" cap="flat" cmpd="sng" algn="ctr">
                      <a:solidFill>
                        <a:schemeClr val="tx2">
                          <a:lumMod val="20000"/>
                          <a:lumOff val="80000"/>
                        </a:schemeClr>
                      </a:solidFill>
                      <a:prstDash val="solid"/>
                      <a:round/>
                      <a:headEnd type="none" w="med" len="med"/>
                      <a:tailEnd type="none" w="med" len="med"/>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14400">
                        <a:lnSpc>
                          <a:spcPct val="90000"/>
                        </a:lnSpc>
                        <a:spcBef>
                          <a:spcPts val="0"/>
                        </a:spcBef>
                        <a:spcAft>
                          <a:spcPts val="500"/>
                        </a:spcAft>
                        <a:buNone/>
                        <a:tabLst/>
                        <a:defRPr/>
                      </a:pPr>
                      <a:r>
                        <a:rPr lang="en-US" sz="1200" b="0" i="0" u="none" strike="noStrike" kern="1200" cap="none" spc="0" normalizeH="0" baseline="0" noProof="0">
                          <a:ln>
                            <a:noFill/>
                          </a:ln>
                          <a:solidFill>
                            <a:srgbClr val="1E1E1E"/>
                          </a:solidFill>
                          <a:effectLst/>
                          <a:uLnTx/>
                          <a:uFillTx/>
                          <a:latin typeface="Arial" panose="020B0604020202020204"/>
                          <a:ea typeface="+mn-ea"/>
                          <a:cs typeface="+mn-cs"/>
                        </a:rPr>
                        <a:t>6.5%</a:t>
                      </a: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a:txBody>
                  <a:tcPr anchor="ctr">
                    <a:lnL w="0">
                      <a:noFill/>
                    </a:lnL>
                    <a:lnR w="0">
                      <a:noFill/>
                    </a:lnR>
                    <a:lnT w="28575">
                      <a:solidFill>
                        <a:schemeClr val="tx2">
                          <a:lumMod val="20000"/>
                          <a:lumOff val="80000"/>
                        </a:schemeClr>
                      </a:solidFill>
                    </a:lnT>
                    <a:lnB w="28575">
                      <a:solidFill>
                        <a:schemeClr val="tx2">
                          <a:lumMod val="20000"/>
                          <a:lumOff val="80000"/>
                        </a:schemeClr>
                      </a:solidFill>
                    </a:lnB>
                    <a:lnTlToBr w="0">
                      <a:noFill/>
                    </a:lnTlToBr>
                    <a:lnBlToTr w="0">
                      <a:noFill/>
                    </a:lnBlToTr>
                    <a:noFill/>
                  </a:tcPr>
                </a:tc>
                <a:extLst>
                  <a:ext uri="{0D108BD9-81ED-4DB2-BD59-A6C34878D82A}">
                    <a16:rowId xmlns:a16="http://schemas.microsoft.com/office/drawing/2014/main" val="1068024295"/>
                  </a:ext>
                </a:extLst>
              </a:tr>
              <a:tr h="422750">
                <a:tc>
                  <a:txBody>
                    <a:bodyPr/>
                    <a:lstStyle/>
                    <a:p>
                      <a:pPr algn="ctr"/>
                      <a:r>
                        <a:rPr lang="en-US" sz="1200" b="0" dirty="0">
                          <a:solidFill>
                            <a:schemeClr val="tx1"/>
                          </a:solidFill>
                        </a:rPr>
                        <a:t>Brand A</a:t>
                      </a:r>
                    </a:p>
                  </a:txBody>
                  <a:tcPr anchor="ctr">
                    <a:lnL w="12700" cmpd="sng">
                      <a:noFill/>
                    </a:lnL>
                    <a:lnR w="12700" cmpd="sng">
                      <a:noFill/>
                    </a:lnR>
                    <a:lnT w="28575" cap="flat" cmpd="sng" algn="ctr">
                      <a:solidFill>
                        <a:schemeClr val="tx2">
                          <a:lumMod val="20000"/>
                          <a:lumOff val="80000"/>
                        </a:schemeClr>
                      </a:solidFill>
                      <a:prstDash val="solid"/>
                      <a:round/>
                      <a:headEnd type="none" w="med" len="med"/>
                      <a:tailEnd type="none" w="med" len="med"/>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500"/>
                        </a:spcAft>
                        <a:buClrTx/>
                        <a:buSzTx/>
                        <a:buNone/>
                        <a:tabLst/>
                        <a:defRPr/>
                      </a:pPr>
                      <a:r>
                        <a:rPr lang="en-US" sz="1200" b="0" i="0" u="none" strike="noStrike" kern="1200" cap="none" spc="0" normalizeH="0" baseline="0" noProof="0">
                          <a:ln>
                            <a:noFill/>
                          </a:ln>
                          <a:solidFill>
                            <a:srgbClr val="1E1E1E"/>
                          </a:solidFill>
                          <a:effectLst/>
                          <a:uLnTx/>
                          <a:uFillTx/>
                          <a:latin typeface="Arial" panose="020B0604020202020204"/>
                          <a:ea typeface="+mn-ea"/>
                          <a:cs typeface="+mn-cs"/>
                        </a:rPr>
                        <a:t>26%</a:t>
                      </a: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a:txBody>
                  <a:tcPr anchor="ctr">
                    <a:lnL w="12700" cmpd="sng">
                      <a:noFill/>
                    </a:lnL>
                    <a:lnR w="12700" cmpd="sng">
                      <a:noFill/>
                    </a:lnR>
                    <a:lnT w="28575" cap="flat" cmpd="sng" algn="ctr">
                      <a:solidFill>
                        <a:schemeClr val="tx2">
                          <a:lumMod val="20000"/>
                          <a:lumOff val="80000"/>
                        </a:schemeClr>
                      </a:solidFill>
                      <a:prstDash val="solid"/>
                      <a:round/>
                      <a:headEnd type="none" w="med" len="med"/>
                      <a:tailEnd type="none" w="med" len="med"/>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14400">
                        <a:lnSpc>
                          <a:spcPct val="90000"/>
                        </a:lnSpc>
                        <a:spcBef>
                          <a:spcPts val="0"/>
                        </a:spcBef>
                        <a:spcAft>
                          <a:spcPts val="500"/>
                        </a:spcAft>
                        <a:buNone/>
                        <a:tabLst/>
                        <a:defRPr/>
                      </a:pPr>
                      <a:r>
                        <a:rPr lang="en-US" sz="1200" b="0" i="0" u="none" strike="noStrike" kern="1200" cap="none" spc="0" normalizeH="0" baseline="0" noProof="0">
                          <a:ln>
                            <a:noFill/>
                          </a:ln>
                          <a:solidFill>
                            <a:srgbClr val="1E1E1E"/>
                          </a:solidFill>
                          <a:effectLst/>
                          <a:uLnTx/>
                          <a:uFillTx/>
                          <a:latin typeface="Arial" panose="020B0604020202020204"/>
                          <a:ea typeface="+mn-ea"/>
                          <a:cs typeface="+mn-cs"/>
                        </a:rPr>
                        <a:t>0.9%</a:t>
                      </a: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a:txBody>
                  <a:tcPr anchor="ctr">
                    <a:lnL w="0">
                      <a:noFill/>
                    </a:lnL>
                    <a:lnR w="0">
                      <a:noFill/>
                    </a:lnR>
                    <a:lnT w="28575">
                      <a:solidFill>
                        <a:schemeClr val="tx2">
                          <a:lumMod val="20000"/>
                          <a:lumOff val="80000"/>
                        </a:schemeClr>
                      </a:solidFill>
                    </a:lnT>
                    <a:lnB w="28575">
                      <a:solidFill>
                        <a:schemeClr val="tx2">
                          <a:lumMod val="20000"/>
                          <a:lumOff val="80000"/>
                        </a:schemeClr>
                      </a:solidFill>
                    </a:lnB>
                    <a:lnTlToBr w="0">
                      <a:noFill/>
                    </a:lnTlToBr>
                    <a:lnBlToTr w="0">
                      <a:noFill/>
                    </a:lnBlToTr>
                    <a:noFill/>
                  </a:tcPr>
                </a:tc>
                <a:extLst>
                  <a:ext uri="{0D108BD9-81ED-4DB2-BD59-A6C34878D82A}">
                    <a16:rowId xmlns:a16="http://schemas.microsoft.com/office/drawing/2014/main" val="3958611177"/>
                  </a:ext>
                </a:extLst>
              </a:tr>
              <a:tr h="422750">
                <a:tc>
                  <a:txBody>
                    <a:bodyPr/>
                    <a:lstStyle/>
                    <a:p>
                      <a:pPr algn="ctr"/>
                      <a:r>
                        <a:rPr lang="en-US" sz="1200" b="0" dirty="0">
                          <a:solidFill>
                            <a:schemeClr val="tx1"/>
                          </a:solidFill>
                        </a:rPr>
                        <a:t>Brand B</a:t>
                      </a:r>
                    </a:p>
                  </a:txBody>
                  <a:tcPr anchor="ctr">
                    <a:lnL w="12700" cmpd="sng">
                      <a:noFill/>
                    </a:lnL>
                    <a:lnR w="12700" cmpd="sng">
                      <a:noFill/>
                    </a:lnR>
                    <a:lnT w="28575" cap="flat" cmpd="sng" algn="ctr">
                      <a:solidFill>
                        <a:schemeClr val="tx2">
                          <a:lumMod val="20000"/>
                          <a:lumOff val="80000"/>
                        </a:schemeClr>
                      </a:solidFill>
                      <a:prstDash val="solid"/>
                      <a:round/>
                      <a:headEnd type="none" w="med" len="med"/>
                      <a:tailEnd type="none" w="med" len="med"/>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500"/>
                        </a:spcAft>
                        <a:buClrTx/>
                        <a:buSzTx/>
                        <a:buNone/>
                        <a:tabLst/>
                        <a:defRPr/>
                      </a:pPr>
                      <a:r>
                        <a:rPr lang="en-US" sz="1200" b="0" i="0" u="none" strike="noStrike" kern="1200" cap="none" spc="0" normalizeH="0" baseline="0" noProof="0">
                          <a:ln>
                            <a:noFill/>
                          </a:ln>
                          <a:solidFill>
                            <a:srgbClr val="1E1E1E"/>
                          </a:solidFill>
                          <a:effectLst/>
                          <a:uLnTx/>
                          <a:uFillTx/>
                          <a:latin typeface="Arial" panose="020B0604020202020204"/>
                          <a:ea typeface="+mn-ea"/>
                          <a:cs typeface="+mn-cs"/>
                        </a:rPr>
                        <a:t>61.8%</a:t>
                      </a: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a:txBody>
                  <a:tcPr anchor="ctr">
                    <a:lnL w="12700" cmpd="sng">
                      <a:noFill/>
                    </a:lnL>
                    <a:lnR w="12700" cmpd="sng">
                      <a:noFill/>
                    </a:lnR>
                    <a:lnT w="28575" cap="flat" cmpd="sng" algn="ctr">
                      <a:solidFill>
                        <a:schemeClr val="tx2">
                          <a:lumMod val="20000"/>
                          <a:lumOff val="80000"/>
                        </a:schemeClr>
                      </a:solidFill>
                      <a:prstDash val="solid"/>
                      <a:round/>
                      <a:headEnd type="none" w="med" len="med"/>
                      <a:tailEnd type="none" w="med" len="med"/>
                    </a:lnT>
                    <a:lnB w="285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14400">
                        <a:lnSpc>
                          <a:spcPct val="90000"/>
                        </a:lnSpc>
                        <a:spcBef>
                          <a:spcPts val="0"/>
                        </a:spcBef>
                        <a:spcAft>
                          <a:spcPts val="500"/>
                        </a:spcAft>
                        <a:buNone/>
                        <a:tabLst/>
                        <a:defRPr/>
                      </a:pPr>
                      <a:r>
                        <a:rPr lang="en-US" sz="1200" b="0" i="0" u="none" strike="noStrike" kern="1200" cap="none" spc="0" normalizeH="0" baseline="0" noProof="0">
                          <a:ln>
                            <a:noFill/>
                          </a:ln>
                          <a:solidFill>
                            <a:srgbClr val="1E1E1E"/>
                          </a:solidFill>
                          <a:effectLst/>
                          <a:uLnTx/>
                          <a:uFillTx/>
                          <a:latin typeface="Arial" panose="020B0604020202020204"/>
                          <a:ea typeface="+mn-ea"/>
                          <a:cs typeface="+mn-cs"/>
                        </a:rPr>
                        <a:t>15.4%</a:t>
                      </a: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a:txBody>
                  <a:tcPr anchor="ctr">
                    <a:lnL w="0">
                      <a:noFill/>
                    </a:lnL>
                    <a:lnR w="0">
                      <a:noFill/>
                    </a:lnR>
                    <a:lnT w="28575">
                      <a:solidFill>
                        <a:schemeClr val="tx2">
                          <a:lumMod val="20000"/>
                          <a:lumOff val="80000"/>
                        </a:schemeClr>
                      </a:solidFill>
                    </a:lnT>
                    <a:lnB w="28575" cap="flat" cmpd="sng" algn="ctr">
                      <a:solidFill>
                        <a:schemeClr val="tx2">
                          <a:lumMod val="20000"/>
                          <a:lumOff val="80000"/>
                        </a:schemeClr>
                      </a:solid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3397522478"/>
                  </a:ext>
                </a:extLst>
              </a:tr>
            </a:tbl>
          </a:graphicData>
        </a:graphic>
      </p:graphicFrame>
      <p:sp>
        <p:nvSpPr>
          <p:cNvPr id="3" name="Rectangle 66">
            <a:extLst>
              <a:ext uri="{FF2B5EF4-FFF2-40B4-BE49-F238E27FC236}">
                <a16:creationId xmlns:a16="http://schemas.microsoft.com/office/drawing/2014/main" id="{93526616-D3E2-3126-057E-EF954F5C659A}"/>
              </a:ext>
            </a:extLst>
          </p:cNvPr>
          <p:cNvSpPr/>
          <p:nvPr/>
        </p:nvSpPr>
        <p:spPr>
          <a:xfrm>
            <a:off x="3337620" y="287912"/>
            <a:ext cx="4475321" cy="435001"/>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 altLang="zh-TW" sz="1400" b="1" dirty="0">
                <a:solidFill>
                  <a:srgbClr val="0E0E0E"/>
                </a:solidFill>
                <a:ea typeface="微軟正黑體"/>
              </a:rPr>
              <a:t>Durable</a:t>
            </a:r>
            <a:r>
              <a:rPr lang="en" altLang="zh-TW" sz="1400" b="1">
                <a:solidFill>
                  <a:srgbClr val="0E0E0E"/>
                </a:solidFill>
                <a:ea typeface="微軟正黑體"/>
              </a:rPr>
              <a:t> Goods Profit Analysis by Brand</a:t>
            </a:r>
            <a:endParaRPr lang="zh-CN" altLang="en-US"/>
          </a:p>
        </p:txBody>
      </p:sp>
      <p:sp>
        <p:nvSpPr>
          <p:cNvPr id="5" name="Grid1">
            <a:extLst>
              <a:ext uri="{FF2B5EF4-FFF2-40B4-BE49-F238E27FC236}">
                <a16:creationId xmlns:a16="http://schemas.microsoft.com/office/drawing/2014/main" id="{46190CEC-537A-E8F4-0433-B6762937654D}"/>
              </a:ext>
            </a:extLst>
          </p:cNvPr>
          <p:cNvSpPr/>
          <p:nvPr/>
        </p:nvSpPr>
        <p:spPr>
          <a:xfrm>
            <a:off x="3068613" y="3205321"/>
            <a:ext cx="9108535" cy="365108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cs-CZ"/>
          </a:p>
        </p:txBody>
      </p:sp>
      <p:grpSp>
        <p:nvGrpSpPr>
          <p:cNvPr id="18" name="组合 17">
            <a:extLst>
              <a:ext uri="{FF2B5EF4-FFF2-40B4-BE49-F238E27FC236}">
                <a16:creationId xmlns:a16="http://schemas.microsoft.com/office/drawing/2014/main" id="{46F2958B-7198-7B13-C4AD-B65A9478965E}"/>
              </a:ext>
            </a:extLst>
          </p:cNvPr>
          <p:cNvGrpSpPr/>
          <p:nvPr/>
        </p:nvGrpSpPr>
        <p:grpSpPr>
          <a:xfrm>
            <a:off x="3342345" y="3814784"/>
            <a:ext cx="6137450" cy="3546914"/>
            <a:chOff x="3276216" y="198510"/>
            <a:chExt cx="9148259" cy="4689914"/>
          </a:xfrm>
        </p:grpSpPr>
        <p:sp>
          <p:nvSpPr>
            <p:cNvPr id="7" name="Grid3">
              <a:extLst>
                <a:ext uri="{FF2B5EF4-FFF2-40B4-BE49-F238E27FC236}">
                  <a16:creationId xmlns:a16="http://schemas.microsoft.com/office/drawing/2014/main" id="{909C6305-0FB5-801F-6383-A1837F6373B9}"/>
                </a:ext>
              </a:extLst>
            </p:cNvPr>
            <p:cNvSpPr/>
            <p:nvPr/>
          </p:nvSpPr>
          <p:spPr>
            <a:xfrm>
              <a:off x="3280475" y="2602424"/>
              <a:ext cx="9144000" cy="2286000"/>
            </a:xfrm>
            <a:prstGeom prst="rect">
              <a:avLst/>
            </a:prstGeom>
            <a:noFill/>
            <a:ln>
              <a:noFill/>
            </a:ln>
            <a:extLst>
              <a:ext uri="{909E8E84-426E-40DD-AFC4-6F175D3DCCD1}">
                <a14:hiddenFill xmlns:a14="http://schemas.microsoft.com/office/drawing/2010/main">
                  <a:solidFill>
                    <a:srgbClr val="F5F5F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lstStyle/>
            <a:p>
              <a:pPr algn="l">
                <a:lnSpc>
                  <a:spcPct val="90000"/>
                </a:lnSpc>
              </a:pPr>
              <a:endParaRPr lang="cs-CZ" sz="1400">
                <a:solidFill>
                  <a:schemeClr val="tx1"/>
                </a:solidFill>
                <a:latin typeface="Arial" panose="020B0604020202020204" pitchFamily="34" charset="0"/>
              </a:endParaRPr>
            </a:p>
          </p:txBody>
        </p:sp>
        <p:sp>
          <p:nvSpPr>
            <p:cNvPr id="8" name="Rectangle 52">
              <a:extLst>
                <a:ext uri="{FF2B5EF4-FFF2-40B4-BE49-F238E27FC236}">
                  <a16:creationId xmlns:a16="http://schemas.microsoft.com/office/drawing/2014/main" id="{4ED06C39-D09D-2EA0-A7FC-318765C2ED15}"/>
                </a:ext>
              </a:extLst>
            </p:cNvPr>
            <p:cNvSpPr/>
            <p:nvPr>
              <p:custDataLst>
                <p:tags r:id="rId1"/>
              </p:custDataLst>
            </p:nvPr>
          </p:nvSpPr>
          <p:spPr bwMode="gray">
            <a:xfrm>
              <a:off x="6027219" y="249072"/>
              <a:ext cx="2208921" cy="1302661"/>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oAutofit/>
            </a:bodyPr>
            <a:lstStyle/>
            <a:p>
              <a:pPr fontAlgn="base">
                <a:lnSpc>
                  <a:spcPct val="90000"/>
                </a:lnSpc>
                <a:spcBef>
                  <a:spcPct val="0"/>
                </a:spcBef>
                <a:spcAft>
                  <a:spcPct val="0"/>
                </a:spcAft>
              </a:pPr>
              <a:endParaRPr lang="en-US" sz="1200" b="1">
                <a:solidFill>
                  <a:schemeClr val="tx1"/>
                </a:solidFill>
                <a:cs typeface="Arial" pitchFamily="34" charset="0"/>
              </a:endParaRPr>
            </a:p>
          </p:txBody>
        </p:sp>
        <p:pic>
          <p:nvPicPr>
            <p:cNvPr id="9" name="Picture 14">
              <a:extLst>
                <a:ext uri="{FF2B5EF4-FFF2-40B4-BE49-F238E27FC236}">
                  <a16:creationId xmlns:a16="http://schemas.microsoft.com/office/drawing/2014/main" id="{71550ECB-10B9-D997-947A-16C2B90118F1}"/>
                </a:ext>
              </a:extLst>
            </p:cNvPr>
            <p:cNvPicPr>
              <a:picLocks noChangeAspect="1"/>
            </p:cNvPicPr>
            <p:nvPr/>
          </p:nvPicPr>
          <p:blipFill>
            <a:blip r:embed="rId3"/>
            <a:srcRect l="-29" t="8712" r="17286" b="577"/>
            <a:stretch/>
          </p:blipFill>
          <p:spPr>
            <a:xfrm>
              <a:off x="3276216" y="198510"/>
              <a:ext cx="6694104" cy="3555619"/>
            </a:xfrm>
            <a:prstGeom prst="rect">
              <a:avLst/>
            </a:prstGeom>
            <a:ln>
              <a:noFill/>
            </a:ln>
          </p:spPr>
        </p:pic>
        <p:sp>
          <p:nvSpPr>
            <p:cNvPr id="10" name="文字方塊 9">
              <a:extLst>
                <a:ext uri="{FF2B5EF4-FFF2-40B4-BE49-F238E27FC236}">
                  <a16:creationId xmlns:a16="http://schemas.microsoft.com/office/drawing/2014/main" id="{9161F253-E8C7-AD97-F03E-27F3CC5CAD0B}"/>
                </a:ext>
              </a:extLst>
            </p:cNvPr>
            <p:cNvSpPr txBox="1"/>
            <p:nvPr/>
          </p:nvSpPr>
          <p:spPr>
            <a:xfrm>
              <a:off x="7131392" y="669141"/>
              <a:ext cx="719230" cy="1236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sz="600" b="1">
                  <a:solidFill>
                    <a:schemeClr val="bg1"/>
                  </a:solidFill>
                  <a:latin typeface="Arial Black"/>
                  <a:ea typeface="Microsoft JhengHei"/>
                  <a:cs typeface="Arial"/>
                </a:rPr>
                <a:t>10,560</a:t>
              </a:r>
              <a:endParaRPr lang="en-US" sz="600" b="1">
                <a:solidFill>
                  <a:schemeClr val="bg1"/>
                </a:solidFill>
                <a:latin typeface="Arial Black"/>
                <a:ea typeface="Microsoft JhengHei"/>
                <a:cs typeface="Arial"/>
              </a:endParaRPr>
            </a:p>
          </p:txBody>
        </p:sp>
        <p:sp>
          <p:nvSpPr>
            <p:cNvPr id="11" name="文字方塊 9">
              <a:extLst>
                <a:ext uri="{FF2B5EF4-FFF2-40B4-BE49-F238E27FC236}">
                  <a16:creationId xmlns:a16="http://schemas.microsoft.com/office/drawing/2014/main" id="{59FDDEF8-8FDB-02F8-34FB-73AEDDBE5D22}"/>
                </a:ext>
              </a:extLst>
            </p:cNvPr>
            <p:cNvSpPr txBox="1"/>
            <p:nvPr/>
          </p:nvSpPr>
          <p:spPr>
            <a:xfrm>
              <a:off x="4425603" y="696010"/>
              <a:ext cx="719230" cy="1236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altLang="en-US" sz="600" b="1">
                  <a:solidFill>
                    <a:schemeClr val="bg1"/>
                  </a:solidFill>
                  <a:latin typeface="Arial Black"/>
                  <a:ea typeface="Microsoft JhengHei"/>
                  <a:cs typeface="Arial"/>
                </a:rPr>
                <a:t>2,203</a:t>
              </a:r>
            </a:p>
          </p:txBody>
        </p:sp>
        <p:sp>
          <p:nvSpPr>
            <p:cNvPr id="12" name="文字方塊 9">
              <a:extLst>
                <a:ext uri="{FF2B5EF4-FFF2-40B4-BE49-F238E27FC236}">
                  <a16:creationId xmlns:a16="http://schemas.microsoft.com/office/drawing/2014/main" id="{6CA4A0DA-FC7E-16D7-9CD1-16B75C4787BE}"/>
                </a:ext>
              </a:extLst>
            </p:cNvPr>
            <p:cNvSpPr txBox="1"/>
            <p:nvPr/>
          </p:nvSpPr>
          <p:spPr>
            <a:xfrm>
              <a:off x="4151387" y="1465816"/>
              <a:ext cx="719230" cy="1236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altLang="en-US" sz="600" b="1">
                  <a:solidFill>
                    <a:schemeClr val="bg1"/>
                  </a:solidFill>
                  <a:latin typeface="Arial Black"/>
                  <a:ea typeface="Microsoft JhengHei"/>
                  <a:cs typeface="Arial"/>
                </a:rPr>
                <a:t>52</a:t>
              </a:r>
            </a:p>
          </p:txBody>
        </p:sp>
        <p:sp>
          <p:nvSpPr>
            <p:cNvPr id="13" name="文字方塊 9">
              <a:extLst>
                <a:ext uri="{FF2B5EF4-FFF2-40B4-BE49-F238E27FC236}">
                  <a16:creationId xmlns:a16="http://schemas.microsoft.com/office/drawing/2014/main" id="{3478E3A9-DFD2-2D1C-9150-9EC95858EAC3}"/>
                </a:ext>
              </a:extLst>
            </p:cNvPr>
            <p:cNvSpPr txBox="1"/>
            <p:nvPr/>
          </p:nvSpPr>
          <p:spPr>
            <a:xfrm>
              <a:off x="6833712" y="1482400"/>
              <a:ext cx="719230" cy="1236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sz="600" b="1">
                  <a:solidFill>
                    <a:schemeClr val="bg1"/>
                  </a:solidFill>
                  <a:latin typeface="Arial Black"/>
                  <a:ea typeface="Microsoft JhengHei"/>
                  <a:cs typeface="Arial"/>
                </a:rPr>
                <a:t>6</a:t>
              </a:r>
              <a:r>
                <a:rPr lang="en-US" altLang="zh-TW" sz="600" b="1">
                  <a:solidFill>
                    <a:schemeClr val="bg1"/>
                  </a:solidFill>
                  <a:latin typeface="Arial Black"/>
                  <a:ea typeface="Microsoft JhengHei"/>
                  <a:cs typeface="Arial"/>
                </a:rPr>
                <a:t>94</a:t>
              </a:r>
              <a:endParaRPr lang="en-US" sz="600"/>
            </a:p>
          </p:txBody>
        </p:sp>
        <p:sp>
          <p:nvSpPr>
            <p:cNvPr id="14" name="文字方塊 9">
              <a:extLst>
                <a:ext uri="{FF2B5EF4-FFF2-40B4-BE49-F238E27FC236}">
                  <a16:creationId xmlns:a16="http://schemas.microsoft.com/office/drawing/2014/main" id="{1DFE0B98-C4C5-FBFA-CD41-63D63D185E01}"/>
                </a:ext>
              </a:extLst>
            </p:cNvPr>
            <p:cNvSpPr txBox="1"/>
            <p:nvPr/>
          </p:nvSpPr>
          <p:spPr>
            <a:xfrm>
              <a:off x="4576617" y="2254607"/>
              <a:ext cx="719230" cy="1236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altLang="en-US" sz="600" b="1">
                  <a:solidFill>
                    <a:schemeClr val="bg1"/>
                  </a:solidFill>
                  <a:latin typeface="Arial Black"/>
                  <a:ea typeface="Microsoft JhengHei"/>
                  <a:cs typeface="Arial"/>
                </a:rPr>
                <a:t>563</a:t>
              </a:r>
            </a:p>
          </p:txBody>
        </p:sp>
        <p:sp>
          <p:nvSpPr>
            <p:cNvPr id="15" name="文字方塊 9">
              <a:extLst>
                <a:ext uri="{FF2B5EF4-FFF2-40B4-BE49-F238E27FC236}">
                  <a16:creationId xmlns:a16="http://schemas.microsoft.com/office/drawing/2014/main" id="{718826B0-A17F-70D7-AD90-AF66D1148879}"/>
                </a:ext>
              </a:extLst>
            </p:cNvPr>
            <p:cNvSpPr txBox="1"/>
            <p:nvPr/>
          </p:nvSpPr>
          <p:spPr>
            <a:xfrm>
              <a:off x="7241793" y="2248745"/>
              <a:ext cx="719230" cy="1236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altLang="en-US" sz="600" b="1">
                  <a:solidFill>
                    <a:schemeClr val="bg1"/>
                  </a:solidFill>
                  <a:latin typeface="Arial Black"/>
                  <a:ea typeface="Microsoft JhengHei"/>
                  <a:cs typeface="Arial"/>
                </a:rPr>
                <a:t>2,187</a:t>
              </a:r>
            </a:p>
          </p:txBody>
        </p:sp>
        <p:sp>
          <p:nvSpPr>
            <p:cNvPr id="16" name="文字方塊 9">
              <a:extLst>
                <a:ext uri="{FF2B5EF4-FFF2-40B4-BE49-F238E27FC236}">
                  <a16:creationId xmlns:a16="http://schemas.microsoft.com/office/drawing/2014/main" id="{CADB1F61-A4E0-EAC2-B97F-6D75EDAD5959}"/>
                </a:ext>
              </a:extLst>
            </p:cNvPr>
            <p:cNvSpPr txBox="1"/>
            <p:nvPr/>
          </p:nvSpPr>
          <p:spPr>
            <a:xfrm>
              <a:off x="4643231" y="3039276"/>
              <a:ext cx="719230" cy="1236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altLang="en-US" sz="600" b="1">
                  <a:solidFill>
                    <a:schemeClr val="bg1"/>
                  </a:solidFill>
                  <a:latin typeface="Arial Black"/>
                  <a:ea typeface="Microsoft JhengHei"/>
                  <a:cs typeface="Arial"/>
                </a:rPr>
                <a:t>410</a:t>
              </a:r>
            </a:p>
          </p:txBody>
        </p:sp>
        <p:sp>
          <p:nvSpPr>
            <p:cNvPr id="17" name="文字方塊 9">
              <a:extLst>
                <a:ext uri="{FF2B5EF4-FFF2-40B4-BE49-F238E27FC236}">
                  <a16:creationId xmlns:a16="http://schemas.microsoft.com/office/drawing/2014/main" id="{1C433387-2EA1-E03F-2EDB-9EA385C7C106}"/>
                </a:ext>
              </a:extLst>
            </p:cNvPr>
            <p:cNvSpPr txBox="1"/>
            <p:nvPr/>
          </p:nvSpPr>
          <p:spPr>
            <a:xfrm>
              <a:off x="7332482" y="3043243"/>
              <a:ext cx="719230" cy="1236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pPr>
              <a:r>
                <a:rPr lang="zh-TW" altLang="en-US" sz="600" b="1">
                  <a:solidFill>
                    <a:schemeClr val="bg1"/>
                  </a:solidFill>
                  <a:latin typeface="Arial Black"/>
                  <a:ea typeface="Microsoft JhengHei"/>
                  <a:cs typeface="Arial"/>
                </a:rPr>
                <a:t>1,255</a:t>
              </a:r>
            </a:p>
          </p:txBody>
        </p:sp>
      </p:grpSp>
      <p:pic>
        <p:nvPicPr>
          <p:cNvPr id="20" name="Picture 47" descr="图表, 条形图&#10;&#10;AI 生成的内容可能不正确。">
            <a:extLst>
              <a:ext uri="{FF2B5EF4-FFF2-40B4-BE49-F238E27FC236}">
                <a16:creationId xmlns:a16="http://schemas.microsoft.com/office/drawing/2014/main" id="{D58BA905-C477-70E1-9666-F0A1E3CD2F5A}"/>
              </a:ext>
            </a:extLst>
          </p:cNvPr>
          <p:cNvPicPr>
            <a:picLocks noChangeAspect="1"/>
          </p:cNvPicPr>
          <p:nvPr/>
        </p:nvPicPr>
        <p:blipFill>
          <a:blip r:embed="rId4"/>
          <a:srcRect l="82452" t="43701" r="810" b="47134"/>
          <a:stretch/>
        </p:blipFill>
        <p:spPr>
          <a:xfrm>
            <a:off x="7968756" y="3814490"/>
            <a:ext cx="1371223" cy="391344"/>
          </a:xfrm>
          <a:prstGeom prst="rect">
            <a:avLst/>
          </a:prstGeom>
        </p:spPr>
      </p:pic>
      <p:pic>
        <p:nvPicPr>
          <p:cNvPr id="22" name="图片 21" descr="文本&#10;&#10;AI 生成的内容可能不正确。">
            <a:extLst>
              <a:ext uri="{FF2B5EF4-FFF2-40B4-BE49-F238E27FC236}">
                <a16:creationId xmlns:a16="http://schemas.microsoft.com/office/drawing/2014/main" id="{391F67C6-8ED3-F3B9-5E1A-E54B414E6EAB}"/>
              </a:ext>
            </a:extLst>
          </p:cNvPr>
          <p:cNvPicPr>
            <a:picLocks noChangeAspect="1"/>
          </p:cNvPicPr>
          <p:nvPr/>
        </p:nvPicPr>
        <p:blipFill>
          <a:blip r:embed="rId5"/>
          <a:stretch>
            <a:fillRect/>
          </a:stretch>
        </p:blipFill>
        <p:spPr>
          <a:xfrm>
            <a:off x="7969599" y="4237010"/>
            <a:ext cx="1367242" cy="398758"/>
          </a:xfrm>
          <a:prstGeom prst="rect">
            <a:avLst/>
          </a:prstGeom>
        </p:spPr>
      </p:pic>
      <p:sp>
        <p:nvSpPr>
          <p:cNvPr id="24" name="Rectangle 66">
            <a:extLst>
              <a:ext uri="{FF2B5EF4-FFF2-40B4-BE49-F238E27FC236}">
                <a16:creationId xmlns:a16="http://schemas.microsoft.com/office/drawing/2014/main" id="{525CD271-6DC7-5F77-07E0-1CACE0FD1AB3}"/>
              </a:ext>
            </a:extLst>
          </p:cNvPr>
          <p:cNvSpPr/>
          <p:nvPr/>
        </p:nvSpPr>
        <p:spPr>
          <a:xfrm>
            <a:off x="8025581" y="4815459"/>
            <a:ext cx="1964368" cy="1679812"/>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marL="0" lvl="1" defTabSz="966788">
              <a:lnSpc>
                <a:spcPct val="90000"/>
              </a:lnSpc>
              <a:spcBef>
                <a:spcPts val="200"/>
              </a:spcBef>
              <a:spcAft>
                <a:spcPts val="200"/>
              </a:spcAft>
              <a:buClr>
                <a:srgbClr val="1E1E1E"/>
              </a:buClr>
              <a:buSzPct val="100000"/>
            </a:pPr>
            <a:r>
              <a:rPr lang="en-US" sz="1400" b="1">
                <a:solidFill>
                  <a:schemeClr val="tx2"/>
                </a:solidFill>
                <a:ea typeface="+mn-lt"/>
                <a:cs typeface="+mn-lt"/>
              </a:rPr>
              <a:t>Beginner Issues</a:t>
            </a:r>
            <a:endParaRPr lang="en-US" sz="1400">
              <a:solidFill>
                <a:schemeClr val="tx2"/>
              </a:solidFill>
              <a:cs typeface="Arial" panose="020B0604020202020204"/>
            </a:endParaRPr>
          </a:p>
          <a:p>
            <a:pPr marL="171450" lvl="1" indent="-171450" defTabSz="966788">
              <a:lnSpc>
                <a:spcPct val="90000"/>
              </a:lnSpc>
              <a:spcBef>
                <a:spcPts val="200"/>
              </a:spcBef>
              <a:spcAft>
                <a:spcPts val="200"/>
              </a:spcAft>
              <a:buClr>
                <a:srgbClr val="1E1E1E"/>
              </a:buClr>
              <a:buSzPct val="100000"/>
              <a:buFont typeface="Arial"/>
              <a:buChar char="•"/>
            </a:pPr>
            <a:r>
              <a:rPr lang="en-US" sz="1100">
                <a:solidFill>
                  <a:schemeClr val="tx1"/>
                </a:solidFill>
                <a:ea typeface="+mn-lt"/>
                <a:cs typeface="+mn-lt"/>
              </a:rPr>
              <a:t>Confusion about setup or usage</a:t>
            </a:r>
            <a:endParaRPr lang="en-US" sz="1100">
              <a:solidFill>
                <a:schemeClr val="tx1"/>
              </a:solidFill>
              <a:cs typeface="Arial"/>
            </a:endParaRPr>
          </a:p>
          <a:p>
            <a:pPr marL="171450" lvl="1" indent="-171450" defTabSz="966788" eaLnBrk="0" hangingPunct="0">
              <a:lnSpc>
                <a:spcPct val="90000"/>
              </a:lnSpc>
              <a:spcBef>
                <a:spcPts val="200"/>
              </a:spcBef>
              <a:spcAft>
                <a:spcPts val="200"/>
              </a:spcAft>
              <a:buClr>
                <a:schemeClr val="tx1"/>
              </a:buClr>
              <a:buSzPct val="100000"/>
              <a:buFont typeface="Arial"/>
              <a:buChar char="•"/>
            </a:pPr>
            <a:r>
              <a:rPr lang="en-US" sz="1100">
                <a:solidFill>
                  <a:schemeClr val="tx1"/>
                </a:solidFill>
                <a:ea typeface="+mn-lt"/>
                <a:cs typeface="+mn-lt"/>
              </a:rPr>
              <a:t>Missing or malfunctioning components</a:t>
            </a:r>
          </a:p>
          <a:p>
            <a:pPr marL="171450" lvl="1" indent="-171450" defTabSz="966788">
              <a:lnSpc>
                <a:spcPct val="90000"/>
              </a:lnSpc>
              <a:spcBef>
                <a:spcPts val="200"/>
              </a:spcBef>
              <a:buClr>
                <a:schemeClr val="tx1"/>
              </a:buClr>
              <a:buSzPct val="100000"/>
              <a:buFont typeface="Arial"/>
              <a:buChar char="•"/>
            </a:pPr>
            <a:r>
              <a:rPr lang="en-US" sz="1100">
                <a:solidFill>
                  <a:schemeClr val="tx1"/>
                </a:solidFill>
                <a:ea typeface="+mn-lt"/>
                <a:cs typeface="+mn-lt"/>
              </a:rPr>
              <a:t>Frustration from unclear</a:t>
            </a:r>
            <a:r>
              <a:rPr lang="en-US" sz="1100">
                <a:solidFill>
                  <a:srgbClr val="000000"/>
                </a:solidFill>
                <a:ea typeface="+mn-lt"/>
                <a:cs typeface="+mn-lt"/>
              </a:rPr>
              <a:t> instructions</a:t>
            </a:r>
            <a:endParaRPr lang="en-US" sz="1100">
              <a:ea typeface="+mn-lt"/>
              <a:cs typeface="+mn-lt"/>
            </a:endParaRPr>
          </a:p>
        </p:txBody>
      </p:sp>
      <p:sp>
        <p:nvSpPr>
          <p:cNvPr id="25" name="Rectangle 66">
            <a:extLst>
              <a:ext uri="{FF2B5EF4-FFF2-40B4-BE49-F238E27FC236}">
                <a16:creationId xmlns:a16="http://schemas.microsoft.com/office/drawing/2014/main" id="{D38DF7F5-3342-2FA9-119D-E33DFD0E3191}"/>
              </a:ext>
            </a:extLst>
          </p:cNvPr>
          <p:cNvSpPr/>
          <p:nvPr/>
        </p:nvSpPr>
        <p:spPr>
          <a:xfrm>
            <a:off x="3344076" y="3329454"/>
            <a:ext cx="4933813" cy="435001"/>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 altLang="zh-TW" sz="1400" b="1">
                <a:solidFill>
                  <a:srgbClr val="0E0E0E"/>
                </a:solidFill>
                <a:ea typeface="微軟正黑體"/>
              </a:rPr>
              <a:t>Beginners vs. Non-beginners Complaints by Category</a:t>
            </a:r>
            <a:endParaRPr lang="zh-CN"/>
          </a:p>
        </p:txBody>
      </p:sp>
      <p:sp>
        <p:nvSpPr>
          <p:cNvPr id="6" name="TextBox 5">
            <a:hlinkClick r:id="rId6" action="ppaction://hlinksldjump"/>
            <a:extLst>
              <a:ext uri="{FF2B5EF4-FFF2-40B4-BE49-F238E27FC236}">
                <a16:creationId xmlns:a16="http://schemas.microsoft.com/office/drawing/2014/main" id="{D4F89F3D-0FD2-E45E-5937-1A355460F063}"/>
              </a:ext>
            </a:extLst>
          </p:cNvPr>
          <p:cNvSpPr txBox="1"/>
          <p:nvPr/>
        </p:nvSpPr>
        <p:spPr>
          <a:xfrm>
            <a:off x="380228" y="3029951"/>
            <a:ext cx="1453924" cy="193899"/>
          </a:xfrm>
          <a:prstGeom prst="rect">
            <a:avLst/>
          </a:prstGeom>
          <a:noFill/>
        </p:spPr>
        <p:txBody>
          <a:bodyPr wrap="none" lIns="0" tIns="0" rIns="0" bIns="0" rtlCol="0">
            <a:spAutoFit/>
          </a:bodyPr>
          <a:lstStyle/>
          <a:p>
            <a:pPr algn="l">
              <a:lnSpc>
                <a:spcPct val="90000"/>
              </a:lnSpc>
            </a:pPr>
            <a:r>
              <a:rPr lang="en-US" sz="1400">
                <a:solidFill>
                  <a:schemeClr val="accent3"/>
                </a:solidFill>
                <a:hlinkClick r:id="rId7" action="ppaction://hlinksldjump">
                  <a:extLst>
                    <a:ext uri="{A12FA001-AC4F-418D-AE19-62706E023703}">
                      <ahyp:hlinkClr xmlns:ahyp="http://schemas.microsoft.com/office/drawing/2018/hyperlinkcolor" val="tx"/>
                    </a:ext>
                  </a:extLst>
                </a:hlinkClick>
              </a:rPr>
              <a:t>Back to main slide</a:t>
            </a:r>
            <a:endParaRPr lang="en-US" sz="1400">
              <a:solidFill>
                <a:schemeClr val="accent3"/>
              </a:solidFill>
            </a:endParaRPr>
          </a:p>
        </p:txBody>
      </p:sp>
      <p:sp>
        <p:nvSpPr>
          <p:cNvPr id="19" name="TextBox 18">
            <a:hlinkClick r:id="rId6" action="ppaction://hlinksldjump"/>
            <a:extLst>
              <a:ext uri="{FF2B5EF4-FFF2-40B4-BE49-F238E27FC236}">
                <a16:creationId xmlns:a16="http://schemas.microsoft.com/office/drawing/2014/main" id="{BD87EEF3-D471-FFE8-A91E-8981645816C1}"/>
              </a:ext>
            </a:extLst>
          </p:cNvPr>
          <p:cNvSpPr txBox="1"/>
          <p:nvPr/>
        </p:nvSpPr>
        <p:spPr>
          <a:xfrm>
            <a:off x="3504427" y="4011025"/>
            <a:ext cx="564257" cy="304699"/>
          </a:xfrm>
          <a:prstGeom prst="rect">
            <a:avLst/>
          </a:prstGeom>
          <a:solidFill>
            <a:schemeClr val="bg1"/>
          </a:solidFill>
        </p:spPr>
        <p:txBody>
          <a:bodyPr wrap="none" lIns="0" tIns="0" rIns="0" bIns="0" rtlCol="0" anchor="t">
            <a:spAutoFit/>
          </a:bodyPr>
          <a:lstStyle/>
          <a:p>
            <a:pPr>
              <a:lnSpc>
                <a:spcPct val="90000"/>
              </a:lnSpc>
            </a:pPr>
            <a:r>
              <a:rPr lang="en-US" sz="1100" b="1" dirty="0">
                <a:solidFill>
                  <a:schemeClr val="accent3"/>
                </a:solidFill>
                <a:cs typeface="Arial"/>
              </a:rPr>
              <a:t>Durable </a:t>
            </a:r>
            <a:endParaRPr lang="en-US">
              <a:solidFill>
                <a:schemeClr val="accent3"/>
              </a:solidFill>
            </a:endParaRPr>
          </a:p>
          <a:p>
            <a:pPr>
              <a:lnSpc>
                <a:spcPct val="90000"/>
              </a:lnSpc>
            </a:pPr>
            <a:r>
              <a:rPr lang="en-US" sz="1100" b="1" dirty="0">
                <a:solidFill>
                  <a:schemeClr val="accent3"/>
                </a:solidFill>
                <a:cs typeface="Arial"/>
              </a:rPr>
              <a:t>Goods</a:t>
            </a:r>
            <a:endParaRPr lang="en-US" dirty="0">
              <a:solidFill>
                <a:schemeClr val="accent3"/>
              </a:solidFill>
            </a:endParaRPr>
          </a:p>
        </p:txBody>
      </p:sp>
      <p:sp>
        <p:nvSpPr>
          <p:cNvPr id="21" name="TextBox 20">
            <a:hlinkClick r:id="rId6" action="ppaction://hlinksldjump"/>
            <a:extLst>
              <a:ext uri="{FF2B5EF4-FFF2-40B4-BE49-F238E27FC236}">
                <a16:creationId xmlns:a16="http://schemas.microsoft.com/office/drawing/2014/main" id="{B1E2A192-F941-420F-D07B-B42C69680F73}"/>
              </a:ext>
            </a:extLst>
          </p:cNvPr>
          <p:cNvSpPr txBox="1"/>
          <p:nvPr/>
        </p:nvSpPr>
        <p:spPr>
          <a:xfrm>
            <a:off x="3513952" y="4563475"/>
            <a:ext cx="552013" cy="457048"/>
          </a:xfrm>
          <a:prstGeom prst="rect">
            <a:avLst/>
          </a:prstGeom>
          <a:solidFill>
            <a:schemeClr val="bg1"/>
          </a:solidFill>
        </p:spPr>
        <p:txBody>
          <a:bodyPr wrap="square" lIns="0" tIns="0" rIns="0" bIns="0" rtlCol="0" anchor="t">
            <a:spAutoFit/>
          </a:bodyPr>
          <a:lstStyle/>
          <a:p>
            <a:pPr>
              <a:lnSpc>
                <a:spcPct val="90000"/>
              </a:lnSpc>
            </a:pPr>
            <a:r>
              <a:rPr lang="en-US" sz="1100" b="1" dirty="0">
                <a:solidFill>
                  <a:schemeClr val="accent3"/>
                </a:solidFill>
                <a:cs typeface="Arial" panose="020B0604020202020204"/>
              </a:rPr>
              <a:t>Fast-</a:t>
            </a:r>
            <a:endParaRPr lang="en-US" dirty="0">
              <a:solidFill>
                <a:schemeClr val="accent3"/>
              </a:solidFill>
              <a:cs typeface="Arial" panose="020B0604020202020204"/>
            </a:endParaRPr>
          </a:p>
          <a:p>
            <a:pPr>
              <a:lnSpc>
                <a:spcPct val="90000"/>
              </a:lnSpc>
            </a:pPr>
            <a:r>
              <a:rPr lang="en-US" sz="1100" b="1" dirty="0">
                <a:solidFill>
                  <a:schemeClr val="accent3"/>
                </a:solidFill>
                <a:cs typeface="Arial" panose="020B0604020202020204"/>
              </a:rPr>
              <a:t>moving </a:t>
            </a:r>
            <a:endParaRPr lang="en-US" dirty="0">
              <a:solidFill>
                <a:schemeClr val="accent3"/>
              </a:solidFill>
              <a:cs typeface="Arial"/>
            </a:endParaRPr>
          </a:p>
          <a:p>
            <a:pPr>
              <a:lnSpc>
                <a:spcPct val="90000"/>
              </a:lnSpc>
            </a:pPr>
            <a:r>
              <a:rPr lang="en-US" sz="1100" b="1" dirty="0">
                <a:solidFill>
                  <a:schemeClr val="accent3"/>
                </a:solidFill>
                <a:cs typeface="Arial" panose="020B0604020202020204"/>
              </a:rPr>
              <a:t>Goods</a:t>
            </a:r>
            <a:endParaRPr lang="en-US" dirty="0">
              <a:solidFill>
                <a:schemeClr val="accent3"/>
              </a:solidFill>
            </a:endParaRPr>
          </a:p>
        </p:txBody>
      </p:sp>
      <p:sp>
        <p:nvSpPr>
          <p:cNvPr id="23" name="TextBox 22">
            <a:hlinkClick r:id="rId6" action="ppaction://hlinksldjump"/>
            <a:extLst>
              <a:ext uri="{FF2B5EF4-FFF2-40B4-BE49-F238E27FC236}">
                <a16:creationId xmlns:a16="http://schemas.microsoft.com/office/drawing/2014/main" id="{1EB7EEA6-F9FD-258B-44D0-5532FA39CE16}"/>
              </a:ext>
            </a:extLst>
          </p:cNvPr>
          <p:cNvSpPr txBox="1"/>
          <p:nvPr/>
        </p:nvSpPr>
        <p:spPr>
          <a:xfrm>
            <a:off x="3513952" y="5249275"/>
            <a:ext cx="552013" cy="304699"/>
          </a:xfrm>
          <a:prstGeom prst="rect">
            <a:avLst/>
          </a:prstGeom>
          <a:solidFill>
            <a:schemeClr val="bg1"/>
          </a:solidFill>
        </p:spPr>
        <p:txBody>
          <a:bodyPr wrap="square" lIns="0" tIns="0" rIns="0" bIns="0" rtlCol="0" anchor="t">
            <a:spAutoFit/>
          </a:bodyPr>
          <a:lstStyle/>
          <a:p>
            <a:pPr>
              <a:lnSpc>
                <a:spcPct val="90000"/>
              </a:lnSpc>
            </a:pPr>
            <a:r>
              <a:rPr lang="en-US" sz="1100" b="1" dirty="0">
                <a:solidFill>
                  <a:schemeClr val="accent3"/>
                </a:solidFill>
                <a:cs typeface="Arial"/>
              </a:rPr>
              <a:t>Target Goods</a:t>
            </a:r>
            <a:endParaRPr lang="en-US" dirty="0">
              <a:solidFill>
                <a:schemeClr val="accent3"/>
              </a:solidFill>
              <a:cs typeface="Arial" panose="020B0604020202020204"/>
            </a:endParaRPr>
          </a:p>
        </p:txBody>
      </p:sp>
      <p:sp>
        <p:nvSpPr>
          <p:cNvPr id="27" name="TextBox 26">
            <a:hlinkClick r:id="rId6" action="ppaction://hlinksldjump"/>
            <a:extLst>
              <a:ext uri="{FF2B5EF4-FFF2-40B4-BE49-F238E27FC236}">
                <a16:creationId xmlns:a16="http://schemas.microsoft.com/office/drawing/2014/main" id="{CDE72D23-B7C8-E753-F9A7-877A6A19541E}"/>
              </a:ext>
            </a:extLst>
          </p:cNvPr>
          <p:cNvSpPr txBox="1"/>
          <p:nvPr/>
        </p:nvSpPr>
        <p:spPr>
          <a:xfrm>
            <a:off x="3513952" y="5811250"/>
            <a:ext cx="552013" cy="304699"/>
          </a:xfrm>
          <a:prstGeom prst="rect">
            <a:avLst/>
          </a:prstGeom>
          <a:solidFill>
            <a:schemeClr val="bg1"/>
          </a:solidFill>
        </p:spPr>
        <p:txBody>
          <a:bodyPr wrap="square" lIns="0" tIns="0" rIns="0" bIns="0" rtlCol="0" anchor="t">
            <a:spAutoFit/>
          </a:bodyPr>
          <a:lstStyle/>
          <a:p>
            <a:pPr>
              <a:lnSpc>
                <a:spcPct val="90000"/>
              </a:lnSpc>
            </a:pPr>
            <a:r>
              <a:rPr lang="en-US" sz="1100" b="1" dirty="0">
                <a:solidFill>
                  <a:schemeClr val="accent3"/>
                </a:solidFill>
                <a:cs typeface="Arial"/>
              </a:rPr>
              <a:t>Starter bundles</a:t>
            </a:r>
            <a:endParaRPr lang="en-US" dirty="0">
              <a:solidFill>
                <a:schemeClr val="accent3"/>
              </a:solidFill>
              <a:cs typeface="Arial" panose="020B0604020202020204"/>
            </a:endParaRPr>
          </a:p>
        </p:txBody>
      </p:sp>
    </p:spTree>
    <p:extLst>
      <p:ext uri="{BB962C8B-B14F-4D97-AF65-F5344CB8AC3E}">
        <p14:creationId xmlns:p14="http://schemas.microsoft.com/office/powerpoint/2010/main" val="23797178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B36AA-8914-20AA-1CCE-5754569A6A5E}"/>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2A9A523-F726-700F-9DFF-D5DEF0AB68A2}"/>
              </a:ext>
            </a:extLst>
          </p:cNvPr>
          <p:cNvSpPr/>
          <p:nvPr/>
        </p:nvSpPr>
        <p:spPr>
          <a:xfrm>
            <a:off x="3049375" y="2179756"/>
            <a:ext cx="9140218" cy="246563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graphicFrame>
        <p:nvGraphicFramePr>
          <p:cNvPr id="14" name="表格 13">
            <a:extLst>
              <a:ext uri="{FF2B5EF4-FFF2-40B4-BE49-F238E27FC236}">
                <a16:creationId xmlns:a16="http://schemas.microsoft.com/office/drawing/2014/main" id="{1FE5A9FF-9D51-8555-C00A-1FB3C72196A8}"/>
              </a:ext>
            </a:extLst>
          </p:cNvPr>
          <p:cNvGraphicFramePr>
            <a:graphicFrameLocks noGrp="1"/>
          </p:cNvGraphicFramePr>
          <p:nvPr>
            <p:extLst>
              <p:ext uri="{D42A27DB-BD31-4B8C-83A1-F6EECF244321}">
                <p14:modId xmlns:p14="http://schemas.microsoft.com/office/powerpoint/2010/main" val="276226621"/>
              </p:ext>
            </p:extLst>
          </p:nvPr>
        </p:nvGraphicFramePr>
        <p:xfrm>
          <a:off x="3218915" y="448654"/>
          <a:ext cx="4831345" cy="1723400"/>
        </p:xfrm>
        <a:graphic>
          <a:graphicData uri="http://schemas.openxmlformats.org/drawingml/2006/table">
            <a:tbl>
              <a:tblPr firstRow="1" bandRow="1">
                <a:tableStyleId>{5C22544A-7EE6-4342-B048-85BDC9FD1C3A}</a:tableStyleId>
              </a:tblPr>
              <a:tblGrid>
                <a:gridCol w="966269">
                  <a:extLst>
                    <a:ext uri="{9D8B030D-6E8A-4147-A177-3AD203B41FA5}">
                      <a16:colId xmlns:a16="http://schemas.microsoft.com/office/drawing/2014/main" val="655244628"/>
                    </a:ext>
                  </a:extLst>
                </a:gridCol>
                <a:gridCol w="966269">
                  <a:extLst>
                    <a:ext uri="{9D8B030D-6E8A-4147-A177-3AD203B41FA5}">
                      <a16:colId xmlns:a16="http://schemas.microsoft.com/office/drawing/2014/main" val="4076398104"/>
                    </a:ext>
                  </a:extLst>
                </a:gridCol>
                <a:gridCol w="966269">
                  <a:extLst>
                    <a:ext uri="{9D8B030D-6E8A-4147-A177-3AD203B41FA5}">
                      <a16:colId xmlns:a16="http://schemas.microsoft.com/office/drawing/2014/main" val="2009298517"/>
                    </a:ext>
                  </a:extLst>
                </a:gridCol>
                <a:gridCol w="966269">
                  <a:extLst>
                    <a:ext uri="{9D8B030D-6E8A-4147-A177-3AD203B41FA5}">
                      <a16:colId xmlns:a16="http://schemas.microsoft.com/office/drawing/2014/main" val="3631498394"/>
                    </a:ext>
                  </a:extLst>
                </a:gridCol>
                <a:gridCol w="966269">
                  <a:extLst>
                    <a:ext uri="{9D8B030D-6E8A-4147-A177-3AD203B41FA5}">
                      <a16:colId xmlns:a16="http://schemas.microsoft.com/office/drawing/2014/main" val="3087831115"/>
                    </a:ext>
                  </a:extLst>
                </a:gridCol>
              </a:tblGrid>
              <a:tr h="238365">
                <a:tc gridSpan="5">
                  <a:txBody>
                    <a:bodyPr/>
                    <a:lstStyle/>
                    <a:p>
                      <a:pPr marL="0" algn="ctr" rtl="0" eaLnBrk="1" fontAlgn="t" latinLnBrk="0" hangingPunct="1"/>
                      <a:r>
                        <a:rPr lang="en-US" sz="1200" b="1" i="0" u="none" strike="noStrike" kern="1200" dirty="0">
                          <a:solidFill>
                            <a:srgbClr val="000000"/>
                          </a:solidFill>
                          <a:effectLst/>
                          <a:latin typeface="Aptos"/>
                        </a:rPr>
                        <a:t>Key Retailers Ratings by Category (Client vs. Competitors)</a:t>
                      </a:r>
                      <a:endParaRPr lang="en-US" sz="1200" b="0" i="0" u="none" strike="noStrike" dirty="0">
                        <a:effectLst/>
                        <a:latin typeface="Arial"/>
                      </a:endParaRPr>
                    </a:p>
                  </a:txBody>
                  <a:tcP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25400" cap="flat" cmpd="sng" algn="ctr">
                      <a:solidFill>
                        <a:srgbClr val="A02B93"/>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507207908"/>
                  </a:ext>
                </a:extLst>
              </a:tr>
              <a:tr h="268925">
                <a:tc>
                  <a:txBody>
                    <a:bodyPr/>
                    <a:lstStyle/>
                    <a:p>
                      <a:pPr marL="0" algn="ctr" rtl="0" eaLnBrk="1" fontAlgn="ctr" latinLnBrk="0" hangingPunct="1"/>
                      <a:r>
                        <a:rPr lang="en-US" sz="1200" b="1" i="0" u="none" strike="noStrike" kern="1200" dirty="0">
                          <a:solidFill>
                            <a:srgbClr val="000000"/>
                          </a:solidFill>
                          <a:effectLst/>
                          <a:latin typeface="Aptos Narrow"/>
                        </a:rPr>
                        <a:t>Category</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254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1" i="0" u="none" strike="noStrike" kern="1200" dirty="0">
                          <a:solidFill>
                            <a:srgbClr val="000000"/>
                          </a:solidFill>
                          <a:effectLst/>
                          <a:latin typeface="Aptos Narrow"/>
                        </a:rPr>
                        <a:t>Brand A</a:t>
                      </a: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254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lvl="0" algn="ctr">
                        <a:buNone/>
                      </a:pPr>
                      <a:r>
                        <a:rPr lang="en-US" sz="1200" b="1" i="0" u="none" strike="noStrike" kern="1200" dirty="0">
                          <a:solidFill>
                            <a:srgbClr val="000000"/>
                          </a:solidFill>
                          <a:effectLst/>
                          <a:latin typeface="Aptos Narrow"/>
                        </a:rPr>
                        <a:t>Brand B</a:t>
                      </a:r>
                      <a:endParaRPr lang="en-US" dirty="0"/>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254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lvl="0" algn="ctr">
                        <a:buNone/>
                      </a:pPr>
                      <a:r>
                        <a:rPr lang="en-US" sz="1200" b="1" i="0" u="none" strike="noStrike" kern="1200" dirty="0">
                          <a:solidFill>
                            <a:srgbClr val="000000"/>
                          </a:solidFill>
                          <a:effectLst/>
                          <a:latin typeface="Aptos Narrow"/>
                        </a:rPr>
                        <a:t>Brand C</a:t>
                      </a:r>
                      <a:endParaRPr lang="en-US" dirty="0"/>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254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1" i="0" u="none" strike="noStrike" kern="1200" dirty="0">
                          <a:solidFill>
                            <a:srgbClr val="000000"/>
                          </a:solidFill>
                          <a:effectLst/>
                          <a:latin typeface="Aptos Narrow"/>
                        </a:rPr>
                        <a:t>Brand D</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254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extLst>
                  <a:ext uri="{0D108BD9-81ED-4DB2-BD59-A6C34878D82A}">
                    <a16:rowId xmlns:a16="http://schemas.microsoft.com/office/drawing/2014/main" val="3845872916"/>
                  </a:ext>
                </a:extLst>
              </a:tr>
              <a:tr h="268925">
                <a:tc>
                  <a:txBody>
                    <a:bodyPr/>
                    <a:lstStyle/>
                    <a:p>
                      <a:pPr marL="0" lvl="0" algn="ctr">
                        <a:buNone/>
                      </a:pPr>
                      <a:r>
                        <a:rPr lang="en-US" sz="1200" b="0" i="0" u="none" strike="noStrike" kern="1200" dirty="0">
                          <a:solidFill>
                            <a:srgbClr val="000000"/>
                          </a:solidFill>
                          <a:effectLst/>
                          <a:latin typeface="Aptos Narrow"/>
                        </a:rPr>
                        <a:t>Starter bundles</a:t>
                      </a:r>
                      <a:endParaRPr lang="en-US" dirty="0"/>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70AD47"/>
                          </a:solidFill>
                          <a:effectLst/>
                          <a:latin typeface="Aptos Narrow"/>
                        </a:rPr>
                        <a:t>4.1 </a:t>
                      </a:r>
                      <a:r>
                        <a:rPr lang="en-US" sz="1200" b="0" i="0" u="none" strike="noStrike" kern="1200" dirty="0">
                          <a:solidFill>
                            <a:srgbClr val="000000"/>
                          </a:solidFill>
                          <a:effectLst/>
                          <a:latin typeface="Aptos Narrow"/>
                        </a:rPr>
                        <a:t>vs. 3.9</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FF0000"/>
                          </a:solidFill>
                          <a:effectLst/>
                          <a:latin typeface="Aptos Narrow"/>
                        </a:rPr>
                        <a:t>3.4 </a:t>
                      </a:r>
                      <a:r>
                        <a:rPr lang="en-US" sz="1200" b="0" i="0" u="none" strike="noStrike" kern="1200" dirty="0">
                          <a:solidFill>
                            <a:srgbClr val="000000"/>
                          </a:solidFill>
                          <a:effectLst/>
                          <a:latin typeface="Aptos Narrow"/>
                        </a:rPr>
                        <a:t>vs. 4.4</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ED7D31"/>
                          </a:solidFill>
                          <a:effectLst/>
                          <a:latin typeface="Aptos Narrow"/>
                        </a:rPr>
                        <a:t>3.7 </a:t>
                      </a:r>
                      <a:r>
                        <a:rPr lang="en-US" sz="1200" b="0" i="0" u="none" strike="noStrike" kern="1200" dirty="0">
                          <a:solidFill>
                            <a:srgbClr val="000000"/>
                          </a:solidFill>
                          <a:effectLst/>
                          <a:latin typeface="Aptos Narrow"/>
                        </a:rPr>
                        <a:t>vs. 3.9</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FF0000"/>
                          </a:solidFill>
                          <a:effectLst/>
                          <a:latin typeface="Aptos Narrow"/>
                        </a:rPr>
                        <a:t>3.6 </a:t>
                      </a:r>
                      <a:r>
                        <a:rPr lang="en-US" sz="1200" b="0" i="0" u="none" strike="noStrike" kern="1200" dirty="0">
                          <a:solidFill>
                            <a:srgbClr val="000000"/>
                          </a:solidFill>
                          <a:effectLst/>
                          <a:latin typeface="Aptos Narrow"/>
                        </a:rPr>
                        <a:t>vs. 4.0</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extLst>
                  <a:ext uri="{0D108BD9-81ED-4DB2-BD59-A6C34878D82A}">
                    <a16:rowId xmlns:a16="http://schemas.microsoft.com/office/drawing/2014/main" val="3385026760"/>
                  </a:ext>
                </a:extLst>
              </a:tr>
              <a:tr h="268925">
                <a:tc>
                  <a:txBody>
                    <a:bodyPr/>
                    <a:lstStyle/>
                    <a:p>
                      <a:pPr marL="0" lvl="0" algn="ctr">
                        <a:buNone/>
                      </a:pPr>
                      <a:r>
                        <a:rPr lang="en-US" sz="1200" b="0" i="0" u="none" strike="noStrike" kern="1200" dirty="0">
                          <a:solidFill>
                            <a:srgbClr val="000000"/>
                          </a:solidFill>
                          <a:effectLst/>
                          <a:latin typeface="Aptos Narrow"/>
                        </a:rPr>
                        <a:t>Durable Goods</a:t>
                      </a:r>
                      <a:endParaRPr lang="en-US" dirty="0"/>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70AD47"/>
                          </a:solidFill>
                          <a:effectLst/>
                          <a:latin typeface="Aptos Narrow"/>
                        </a:rPr>
                        <a:t>4.4 </a:t>
                      </a:r>
                      <a:r>
                        <a:rPr lang="en-US" sz="1200" b="0" i="0" u="none" strike="noStrike" kern="1200" dirty="0">
                          <a:solidFill>
                            <a:srgbClr val="000000"/>
                          </a:solidFill>
                          <a:effectLst/>
                          <a:latin typeface="Aptos Narrow"/>
                        </a:rPr>
                        <a:t>vs. 4.3</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70AD47"/>
                          </a:solidFill>
                          <a:effectLst/>
                          <a:latin typeface="Aptos Narrow"/>
                        </a:rPr>
                        <a:t>4.3</a:t>
                      </a:r>
                      <a:r>
                        <a:rPr lang="en-US" sz="1200" b="0" i="0" u="none" strike="noStrike" kern="1200" dirty="0">
                          <a:solidFill>
                            <a:srgbClr val="000000"/>
                          </a:solidFill>
                          <a:effectLst/>
                          <a:latin typeface="Aptos Narrow"/>
                        </a:rPr>
                        <a:t> vs. 4.1</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FF0000"/>
                          </a:solidFill>
                          <a:effectLst/>
                          <a:latin typeface="Aptos Narrow"/>
                        </a:rPr>
                        <a:t>3.8 </a:t>
                      </a:r>
                      <a:r>
                        <a:rPr lang="en-US" sz="1200" b="0" i="0" u="none" strike="noStrike" kern="1200" dirty="0">
                          <a:solidFill>
                            <a:srgbClr val="000000"/>
                          </a:solidFill>
                          <a:effectLst/>
                          <a:latin typeface="Aptos Narrow"/>
                        </a:rPr>
                        <a:t>vs. 4.2</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4EA72E"/>
                          </a:solidFill>
                          <a:effectLst/>
                          <a:latin typeface="Aptos Narrow"/>
                        </a:rPr>
                        <a:t>4.3</a:t>
                      </a:r>
                      <a:r>
                        <a:rPr lang="en-US" sz="1200" b="0" i="0" u="none" strike="noStrike" kern="1200" dirty="0">
                          <a:solidFill>
                            <a:srgbClr val="000000"/>
                          </a:solidFill>
                          <a:effectLst/>
                          <a:latin typeface="Aptos Narrow"/>
                        </a:rPr>
                        <a:t> vs. 4.2</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extLst>
                  <a:ext uri="{0D108BD9-81ED-4DB2-BD59-A6C34878D82A}">
                    <a16:rowId xmlns:a16="http://schemas.microsoft.com/office/drawing/2014/main" val="4252958086"/>
                  </a:ext>
                </a:extLst>
              </a:tr>
              <a:tr h="268925">
                <a:tc>
                  <a:txBody>
                    <a:bodyPr/>
                    <a:lstStyle/>
                    <a:p>
                      <a:pPr marL="0" lvl="0" algn="ctr">
                        <a:buNone/>
                      </a:pPr>
                      <a:r>
                        <a:rPr lang="en-US" sz="1200" b="0" i="0" u="none" strike="noStrike" kern="1200" dirty="0">
                          <a:solidFill>
                            <a:srgbClr val="000000"/>
                          </a:solidFill>
                          <a:effectLst/>
                          <a:latin typeface="Aptos Narrow"/>
                        </a:rPr>
                        <a:t>Target Goods</a:t>
                      </a:r>
                      <a:endParaRPr lang="en-US" dirty="0"/>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70AD47"/>
                          </a:solidFill>
                          <a:effectLst/>
                          <a:latin typeface="Aptos Narrow"/>
                        </a:rPr>
                        <a:t>4.3 </a:t>
                      </a:r>
                      <a:r>
                        <a:rPr lang="en-US" sz="1200" b="0" i="0" u="none" strike="noStrike" kern="1200" dirty="0">
                          <a:solidFill>
                            <a:srgbClr val="000000"/>
                          </a:solidFill>
                          <a:effectLst/>
                          <a:latin typeface="Aptos Narrow"/>
                        </a:rPr>
                        <a:t>vs. 4.2</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FF0000"/>
                          </a:solidFill>
                          <a:effectLst/>
                          <a:latin typeface="Aptos Narrow"/>
                        </a:rPr>
                        <a:t>3.5 </a:t>
                      </a:r>
                      <a:r>
                        <a:rPr lang="en-US" sz="1200" b="0" i="0" u="none" strike="noStrike" kern="1200" dirty="0">
                          <a:solidFill>
                            <a:srgbClr val="000000"/>
                          </a:solidFill>
                          <a:effectLst/>
                          <a:latin typeface="Aptos Narrow"/>
                        </a:rPr>
                        <a:t>vs. 4.5</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FF0000"/>
                          </a:solidFill>
                          <a:effectLst/>
                          <a:latin typeface="Aptos Narrow"/>
                        </a:rPr>
                        <a:t>3.0 </a:t>
                      </a:r>
                      <a:r>
                        <a:rPr lang="en-US" sz="1200" b="0" i="0" u="none" strike="noStrike" kern="1200" dirty="0">
                          <a:solidFill>
                            <a:srgbClr val="000000"/>
                          </a:solidFill>
                          <a:effectLst/>
                          <a:latin typeface="Aptos Narrow"/>
                        </a:rPr>
                        <a:t>vs. 4.2</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tc>
                  <a:txBody>
                    <a:bodyPr/>
                    <a:lstStyle/>
                    <a:p>
                      <a:pPr marL="0" algn="ctr" rtl="0" eaLnBrk="1" fontAlgn="ctr" latinLnBrk="0" hangingPunct="1"/>
                      <a:r>
                        <a:rPr lang="en-US" sz="1200" b="0" i="0" u="none" strike="noStrike" kern="1200" dirty="0">
                          <a:solidFill>
                            <a:srgbClr val="ED7D31"/>
                          </a:solidFill>
                          <a:effectLst/>
                          <a:latin typeface="Aptos Narrow"/>
                        </a:rPr>
                        <a:t>3.9 </a:t>
                      </a:r>
                      <a:r>
                        <a:rPr lang="en-US" sz="1200" b="0" i="0" u="none" strike="noStrike" kern="1200" dirty="0">
                          <a:solidFill>
                            <a:srgbClr val="000000"/>
                          </a:solidFill>
                          <a:effectLst/>
                          <a:latin typeface="Aptos Narrow"/>
                        </a:rPr>
                        <a:t>vs.</a:t>
                      </a:r>
                      <a:r>
                        <a:rPr lang="en-US" sz="1200" b="0" i="0" u="none" strike="noStrike" kern="1200" dirty="0">
                          <a:solidFill>
                            <a:srgbClr val="ED7D31"/>
                          </a:solidFill>
                          <a:effectLst/>
                          <a:latin typeface="Aptos Narrow"/>
                        </a:rPr>
                        <a:t> </a:t>
                      </a:r>
                      <a:r>
                        <a:rPr lang="en-US" sz="1200" b="0" i="0" u="none" strike="noStrike" kern="1200" dirty="0">
                          <a:solidFill>
                            <a:srgbClr val="000000"/>
                          </a:solidFill>
                          <a:effectLst/>
                          <a:latin typeface="Aptos Narrow"/>
                        </a:rPr>
                        <a:t>4.1</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noFill/>
                  </a:tcPr>
                </a:tc>
                <a:extLst>
                  <a:ext uri="{0D108BD9-81ED-4DB2-BD59-A6C34878D82A}">
                    <a16:rowId xmlns:a16="http://schemas.microsoft.com/office/drawing/2014/main" val="1405762032"/>
                  </a:ext>
                </a:extLst>
              </a:tr>
              <a:tr h="268925">
                <a:tc>
                  <a:txBody>
                    <a:bodyPr/>
                    <a:lstStyle/>
                    <a:p>
                      <a:pPr marL="0" algn="ctr" rtl="0" eaLnBrk="1" fontAlgn="ctr" latinLnBrk="0" hangingPunct="1"/>
                      <a:r>
                        <a:rPr lang="en-US" sz="1200" b="0" i="0" u="none" strike="noStrike" kern="1200" dirty="0">
                          <a:solidFill>
                            <a:srgbClr val="000000"/>
                          </a:solidFill>
                          <a:effectLst/>
                          <a:latin typeface="Aptos Narrow"/>
                        </a:rPr>
                        <a:t>Fast-moving Goods</a:t>
                      </a: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70AD47"/>
                          </a:solidFill>
                          <a:effectLst/>
                          <a:latin typeface="Aptos Narrow"/>
                        </a:rPr>
                        <a:t>4.6 </a:t>
                      </a:r>
                      <a:r>
                        <a:rPr lang="en-US" sz="1200" b="0" i="0" u="none" strike="noStrike" kern="1200" dirty="0">
                          <a:solidFill>
                            <a:srgbClr val="000000"/>
                          </a:solidFill>
                          <a:effectLst/>
                          <a:latin typeface="Aptos Narrow"/>
                        </a:rPr>
                        <a:t>vs. 4.5</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ED7D31"/>
                          </a:solidFill>
                          <a:effectLst/>
                          <a:latin typeface="Aptos Narrow"/>
                        </a:rPr>
                        <a:t>4.5 </a:t>
                      </a:r>
                      <a:r>
                        <a:rPr lang="en-US" sz="1200" b="0" i="0" u="none" strike="noStrike" kern="1200" dirty="0">
                          <a:solidFill>
                            <a:srgbClr val="000000"/>
                          </a:solidFill>
                          <a:effectLst/>
                          <a:latin typeface="Aptos Narrow"/>
                        </a:rPr>
                        <a:t>vs. 4.7</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ED7D31"/>
                          </a:solidFill>
                          <a:effectLst/>
                          <a:latin typeface="Aptos Narrow"/>
                        </a:rPr>
                        <a:t>4.3 </a:t>
                      </a:r>
                      <a:r>
                        <a:rPr lang="en-US" sz="1200" b="0" i="0" u="none" strike="noStrike" kern="1200" dirty="0">
                          <a:solidFill>
                            <a:srgbClr val="000000"/>
                          </a:solidFill>
                          <a:effectLst/>
                          <a:latin typeface="Aptos Narrow"/>
                        </a:rPr>
                        <a:t>vs. 4.5</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tc>
                  <a:txBody>
                    <a:bodyPr/>
                    <a:lstStyle/>
                    <a:p>
                      <a:pPr marL="0" algn="ctr" rtl="0" eaLnBrk="1" fontAlgn="ctr" latinLnBrk="0" hangingPunct="1"/>
                      <a:r>
                        <a:rPr lang="en-US" sz="1200" b="0" i="0" u="none" strike="noStrike" kern="1200" dirty="0">
                          <a:solidFill>
                            <a:srgbClr val="4EA72E"/>
                          </a:solidFill>
                          <a:effectLst/>
                          <a:latin typeface="Aptos Narrow"/>
                        </a:rPr>
                        <a:t>4.6</a:t>
                      </a:r>
                      <a:r>
                        <a:rPr lang="en-US" sz="1200" b="0" i="0" u="none" strike="noStrike" kern="1200" dirty="0">
                          <a:solidFill>
                            <a:srgbClr val="000000"/>
                          </a:solidFill>
                          <a:effectLst/>
                          <a:latin typeface="Aptos Narrow"/>
                        </a:rPr>
                        <a:t> vs. 4.6</a:t>
                      </a:r>
                      <a:endParaRPr lang="en-US" sz="1200" b="0" i="0" u="none" strike="noStrike" dirty="0">
                        <a:effectLst/>
                        <a:latin typeface="Aptos Narrow"/>
                      </a:endParaRPr>
                    </a:p>
                  </a:txBody>
                  <a:tcPr marL="7620" marR="7620" marT="7620" marB="0" anchor="ctr">
                    <a:lnL w="12700" cap="flat" cmpd="sng" algn="ctr">
                      <a:solidFill>
                        <a:srgbClr val="A02B93"/>
                      </a:solidFill>
                      <a:prstDash val="solid"/>
                      <a:round/>
                      <a:headEnd type="none" w="med" len="med"/>
                      <a:tailEnd type="none" w="med" len="med"/>
                    </a:lnL>
                    <a:lnR w="12700" cap="flat" cmpd="sng" algn="ctr">
                      <a:solidFill>
                        <a:srgbClr val="A02B93"/>
                      </a:solidFill>
                      <a:prstDash val="solid"/>
                      <a:round/>
                      <a:headEnd type="none" w="med" len="med"/>
                      <a:tailEnd type="none" w="med" len="med"/>
                    </a:lnR>
                    <a:lnT w="12700" cap="flat" cmpd="sng" algn="ctr">
                      <a:solidFill>
                        <a:srgbClr val="A02B93"/>
                      </a:solidFill>
                      <a:prstDash val="solid"/>
                      <a:round/>
                      <a:headEnd type="none" w="med" len="med"/>
                      <a:tailEnd type="none" w="med" len="med"/>
                    </a:lnT>
                    <a:lnB w="12700" cap="flat" cmpd="sng" algn="ctr">
                      <a:solidFill>
                        <a:srgbClr val="A02B93"/>
                      </a:solidFill>
                      <a:prstDash val="solid"/>
                      <a:round/>
                      <a:headEnd type="none" w="med" len="med"/>
                      <a:tailEnd type="none" w="med" len="med"/>
                    </a:lnB>
                    <a:solidFill>
                      <a:srgbClr val="F0E8EE"/>
                    </a:solidFill>
                  </a:tcPr>
                </a:tc>
                <a:extLst>
                  <a:ext uri="{0D108BD9-81ED-4DB2-BD59-A6C34878D82A}">
                    <a16:rowId xmlns:a16="http://schemas.microsoft.com/office/drawing/2014/main" val="3346808820"/>
                  </a:ext>
                </a:extLst>
              </a:tr>
            </a:tbl>
          </a:graphicData>
        </a:graphic>
      </p:graphicFrame>
      <p:sp>
        <p:nvSpPr>
          <p:cNvPr id="16" name="文本框 15">
            <a:extLst>
              <a:ext uri="{FF2B5EF4-FFF2-40B4-BE49-F238E27FC236}">
                <a16:creationId xmlns:a16="http://schemas.microsoft.com/office/drawing/2014/main" id="{C4C440E3-B8C6-81AB-26D7-F4639B8C4F7D}"/>
              </a:ext>
            </a:extLst>
          </p:cNvPr>
          <p:cNvSpPr txBox="1"/>
          <p:nvPr/>
        </p:nvSpPr>
        <p:spPr>
          <a:xfrm>
            <a:off x="3218916" y="220767"/>
            <a:ext cx="3124253" cy="152349"/>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90000"/>
              </a:lnSpc>
            </a:pPr>
            <a:r>
              <a:rPr lang="zh-CN" altLang="en-US" sz="1100">
                <a:solidFill>
                  <a:srgbClr val="00B050"/>
                </a:solidFill>
                <a:ea typeface="黑体"/>
                <a:cs typeface="Arial"/>
              </a:rPr>
              <a:t>Good standing</a:t>
            </a:r>
            <a:r>
              <a:rPr lang="zh-CN" altLang="en-US" sz="1100">
                <a:ea typeface="黑体"/>
                <a:cs typeface="Arial"/>
              </a:rPr>
              <a:t>, </a:t>
            </a:r>
            <a:r>
              <a:rPr lang="zh-CN" altLang="en-US" sz="1100">
                <a:solidFill>
                  <a:srgbClr val="ED7D4A"/>
                </a:solidFill>
                <a:ea typeface="黑体"/>
                <a:cs typeface="Arial"/>
              </a:rPr>
              <a:t>≤0.2 Differences</a:t>
            </a:r>
            <a:r>
              <a:rPr lang="zh-CN" altLang="en-US" sz="1100">
                <a:ea typeface="黑体"/>
                <a:cs typeface="Arial"/>
              </a:rPr>
              <a:t>,</a:t>
            </a:r>
            <a:r>
              <a:rPr lang="zh-CN" altLang="en-US" sz="1100">
                <a:solidFill>
                  <a:srgbClr val="FF0000"/>
                </a:solidFill>
                <a:ea typeface="黑体"/>
                <a:cs typeface="Arial"/>
              </a:rPr>
              <a:t> &gt;0.2 Differences</a:t>
            </a:r>
          </a:p>
        </p:txBody>
      </p:sp>
      <p:sp>
        <p:nvSpPr>
          <p:cNvPr id="23" name="Rectangle 66">
            <a:extLst>
              <a:ext uri="{FF2B5EF4-FFF2-40B4-BE49-F238E27FC236}">
                <a16:creationId xmlns:a16="http://schemas.microsoft.com/office/drawing/2014/main" id="{C396894F-D79B-15FC-9779-8F07B3CA68F5}"/>
              </a:ext>
            </a:extLst>
          </p:cNvPr>
          <p:cNvSpPr/>
          <p:nvPr/>
        </p:nvSpPr>
        <p:spPr>
          <a:xfrm>
            <a:off x="312932" y="4168358"/>
            <a:ext cx="2406770" cy="2574627"/>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marL="0" lvl="1" defTabSz="966788">
              <a:lnSpc>
                <a:spcPct val="90000"/>
              </a:lnSpc>
              <a:spcBef>
                <a:spcPts val="200"/>
              </a:spcBef>
            </a:pPr>
            <a:r>
              <a:rPr lang="en-US" sz="1300">
                <a:solidFill>
                  <a:schemeClr val="tx1"/>
                </a:solidFill>
                <a:ea typeface="+mn-lt"/>
                <a:cs typeface="+mn-lt"/>
              </a:rPr>
              <a:t>Examine ratings of key retailers to identify gaps and areas for improvement compared to competitors.</a:t>
            </a:r>
            <a:endParaRPr lang="en-US" sz="1300">
              <a:solidFill>
                <a:schemeClr val="tx1"/>
              </a:solidFill>
              <a:cs typeface="Arial"/>
            </a:endParaRPr>
          </a:p>
          <a:p>
            <a:pPr marL="0" lvl="1" defTabSz="966788">
              <a:lnSpc>
                <a:spcPct val="90000"/>
              </a:lnSpc>
              <a:spcBef>
                <a:spcPts val="200"/>
              </a:spcBef>
            </a:pPr>
            <a:endParaRPr lang="en-US" sz="1600" b="1">
              <a:solidFill>
                <a:schemeClr val="tx1"/>
              </a:solidFill>
              <a:ea typeface="+mn-lt"/>
              <a:cs typeface="+mn-lt"/>
            </a:endParaRPr>
          </a:p>
          <a:p>
            <a:pPr marL="0" lvl="1" defTabSz="966788">
              <a:lnSpc>
                <a:spcPct val="90000"/>
              </a:lnSpc>
              <a:spcBef>
                <a:spcPts val="200"/>
              </a:spcBef>
            </a:pPr>
            <a:endParaRPr lang="en-US" sz="1200">
              <a:solidFill>
                <a:srgbClr val="000000"/>
              </a:solidFill>
              <a:ea typeface="+mn-lt"/>
              <a:cs typeface="+mn-lt"/>
            </a:endParaRPr>
          </a:p>
        </p:txBody>
      </p:sp>
      <p:sp>
        <p:nvSpPr>
          <p:cNvPr id="25" name="文本框 24">
            <a:extLst>
              <a:ext uri="{FF2B5EF4-FFF2-40B4-BE49-F238E27FC236}">
                <a16:creationId xmlns:a16="http://schemas.microsoft.com/office/drawing/2014/main" id="{AE3C9DBA-1940-3A08-3E71-73BA0E28F4FC}"/>
              </a:ext>
            </a:extLst>
          </p:cNvPr>
          <p:cNvSpPr txBox="1"/>
          <p:nvPr/>
        </p:nvSpPr>
        <p:spPr>
          <a:xfrm>
            <a:off x="8944673" y="452107"/>
            <a:ext cx="3101635" cy="3877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zh-CN" altLang="en-US" sz="1400" b="1">
                <a:ea typeface="黑体"/>
                <a:cs typeface="Arial"/>
              </a:rPr>
              <a:t>Poor Performers</a:t>
            </a:r>
            <a:endParaRPr lang="zh-CN" sz="1400" b="1">
              <a:ea typeface="黑体"/>
              <a:cs typeface="Arial"/>
            </a:endParaRPr>
          </a:p>
          <a:p>
            <a:pPr>
              <a:lnSpc>
                <a:spcPct val="90000"/>
              </a:lnSpc>
            </a:pPr>
            <a:endParaRPr lang="zh-CN" altLang="en-US" sz="1400">
              <a:ea typeface="黑体"/>
              <a:cs typeface="Arial"/>
            </a:endParaRPr>
          </a:p>
        </p:txBody>
      </p:sp>
      <p:grpSp>
        <p:nvGrpSpPr>
          <p:cNvPr id="29" name="组合 28">
            <a:extLst>
              <a:ext uri="{FF2B5EF4-FFF2-40B4-BE49-F238E27FC236}">
                <a16:creationId xmlns:a16="http://schemas.microsoft.com/office/drawing/2014/main" id="{395106F5-916A-9428-AA42-CDCE932442E3}"/>
              </a:ext>
            </a:extLst>
          </p:cNvPr>
          <p:cNvGrpSpPr/>
          <p:nvPr/>
        </p:nvGrpSpPr>
        <p:grpSpPr>
          <a:xfrm>
            <a:off x="8530128" y="370903"/>
            <a:ext cx="362436" cy="369559"/>
            <a:chOff x="7537753" y="3431419"/>
            <a:chExt cx="914400" cy="914400"/>
          </a:xfrm>
        </p:grpSpPr>
        <p:sp>
          <p:nvSpPr>
            <p:cNvPr id="27" name="椭圆 26">
              <a:extLst>
                <a:ext uri="{FF2B5EF4-FFF2-40B4-BE49-F238E27FC236}">
                  <a16:creationId xmlns:a16="http://schemas.microsoft.com/office/drawing/2014/main" id="{EE844F7D-C03E-9417-042C-5C064DD4472B}"/>
                </a:ext>
              </a:extLst>
            </p:cNvPr>
            <p:cNvSpPr/>
            <p:nvPr/>
          </p:nvSpPr>
          <p:spPr>
            <a:xfrm>
              <a:off x="7537753" y="3431419"/>
              <a:ext cx="914400" cy="914400"/>
            </a:xfrm>
            <a:prstGeom prst="ellipse">
              <a:avLst/>
            </a:prstGeom>
            <a:solidFill>
              <a:srgbClr val="E4D4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zh-CN" altLang="en-US" sz="1400" err="1">
                <a:solidFill>
                  <a:schemeClr val="tx1"/>
                </a:solidFill>
              </a:endParaRPr>
            </a:p>
          </p:txBody>
        </p:sp>
        <p:pic>
          <p:nvPicPr>
            <p:cNvPr id="28" name="图片 27" descr="图标&#10;&#10;AI 生成的内容可能不正确。">
              <a:extLst>
                <a:ext uri="{FF2B5EF4-FFF2-40B4-BE49-F238E27FC236}">
                  <a16:creationId xmlns:a16="http://schemas.microsoft.com/office/drawing/2014/main" id="{8D08FC2E-17D5-AAD2-3E48-6037CDDAEB2B}"/>
                </a:ext>
              </a:extLst>
            </p:cNvPr>
            <p:cNvPicPr>
              <a:picLocks noChangeAspect="1"/>
            </p:cNvPicPr>
            <p:nvPr/>
          </p:nvPicPr>
          <p:blipFill>
            <a:blip r:embed="rId3"/>
            <a:stretch>
              <a:fillRect/>
            </a:stretch>
          </p:blipFill>
          <p:spPr>
            <a:xfrm>
              <a:off x="7641544" y="3595687"/>
              <a:ext cx="646340" cy="573769"/>
            </a:xfrm>
            <a:prstGeom prst="rect">
              <a:avLst/>
            </a:prstGeom>
          </p:spPr>
        </p:pic>
      </p:grpSp>
      <p:sp>
        <p:nvSpPr>
          <p:cNvPr id="31" name="文本框 30">
            <a:extLst>
              <a:ext uri="{FF2B5EF4-FFF2-40B4-BE49-F238E27FC236}">
                <a16:creationId xmlns:a16="http://schemas.microsoft.com/office/drawing/2014/main" id="{B78F2FAD-ECD4-3C56-5BFD-2F428DD577D7}"/>
              </a:ext>
            </a:extLst>
          </p:cNvPr>
          <p:cNvSpPr txBox="1"/>
          <p:nvPr/>
        </p:nvSpPr>
        <p:spPr>
          <a:xfrm>
            <a:off x="8641223" y="743485"/>
            <a:ext cx="3340017" cy="86318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285750" indent="-285750">
              <a:lnSpc>
                <a:spcPct val="150000"/>
              </a:lnSpc>
              <a:buFont typeface="Arial,Sans-Serif"/>
              <a:buChar char="•"/>
            </a:pPr>
            <a:r>
              <a:rPr lang="en-US" altLang="zh-CN" sz="1300" dirty="0">
                <a:ea typeface="黑体"/>
                <a:cs typeface="Arial"/>
              </a:rPr>
              <a:t>Brand B</a:t>
            </a:r>
            <a:r>
              <a:rPr lang="en-US" altLang="zh-CN" sz="1300">
                <a:ea typeface="黑体"/>
                <a:cs typeface="Arial"/>
              </a:rPr>
              <a:t>:</a:t>
            </a:r>
            <a:r>
              <a:rPr lang="en-US" altLang="zh-CN" sz="1300" dirty="0">
                <a:ea typeface="黑体"/>
                <a:cs typeface="Arial"/>
              </a:rPr>
              <a:t> Starter Bundles</a:t>
            </a:r>
            <a:r>
              <a:rPr lang="en-US" altLang="zh-CN" sz="1300">
                <a:ea typeface="黑体"/>
                <a:cs typeface="Arial"/>
              </a:rPr>
              <a:t> &amp; </a:t>
            </a:r>
            <a:r>
              <a:rPr lang="en-US" altLang="zh-CN" sz="1300" dirty="0">
                <a:ea typeface="黑体"/>
                <a:cs typeface="Arial"/>
              </a:rPr>
              <a:t>Target Goods</a:t>
            </a:r>
            <a:endParaRPr lang="zh-CN" altLang="en-US" sz="1300">
              <a:ea typeface="黑体"/>
              <a:cs typeface="Arial"/>
            </a:endParaRPr>
          </a:p>
          <a:p>
            <a:pPr marL="285750" indent="-285750">
              <a:lnSpc>
                <a:spcPct val="150000"/>
              </a:lnSpc>
              <a:buFont typeface="Arial,Sans-Serif"/>
              <a:buChar char="•"/>
            </a:pPr>
            <a:r>
              <a:rPr lang="en-US" altLang="zh-CN" sz="1300" dirty="0">
                <a:ea typeface="黑体"/>
                <a:cs typeface="Arial"/>
              </a:rPr>
              <a:t>Brand C</a:t>
            </a:r>
            <a:r>
              <a:rPr lang="en-US" altLang="zh-CN" sz="1300">
                <a:ea typeface="黑体"/>
                <a:cs typeface="Arial"/>
              </a:rPr>
              <a:t>: </a:t>
            </a:r>
            <a:r>
              <a:rPr lang="en-US" altLang="zh-CN" sz="1300" dirty="0">
                <a:ea typeface="黑体"/>
                <a:cs typeface="Arial"/>
              </a:rPr>
              <a:t>Durable </a:t>
            </a:r>
            <a:r>
              <a:rPr lang="en-US" altLang="zh-CN" sz="1300">
                <a:ea typeface="黑体"/>
                <a:cs typeface="Arial"/>
              </a:rPr>
              <a:t>Goods &amp; </a:t>
            </a:r>
            <a:r>
              <a:rPr lang="en-US" altLang="zh-CN" sz="1300" dirty="0">
                <a:ea typeface="黑体"/>
                <a:cs typeface="Arial"/>
              </a:rPr>
              <a:t>Target </a:t>
            </a:r>
            <a:r>
              <a:rPr lang="en-US" sz="1300" dirty="0">
                <a:ea typeface="黑体"/>
                <a:cs typeface="Arial"/>
              </a:rPr>
              <a:t>Goods</a:t>
            </a:r>
          </a:p>
          <a:p>
            <a:pPr marL="285750" indent="-285750">
              <a:lnSpc>
                <a:spcPct val="150000"/>
              </a:lnSpc>
              <a:buFont typeface="Arial,Sans-Serif"/>
              <a:buChar char="•"/>
            </a:pPr>
            <a:r>
              <a:rPr lang="en-US" altLang="zh-CN" sz="1300" dirty="0">
                <a:ea typeface="黑体"/>
                <a:cs typeface="Arial"/>
              </a:rPr>
              <a:t>Brand D</a:t>
            </a:r>
            <a:r>
              <a:rPr lang="en-US" altLang="zh-CN" sz="1300">
                <a:ea typeface="黑体"/>
                <a:cs typeface="Arial"/>
              </a:rPr>
              <a:t>: </a:t>
            </a:r>
            <a:r>
              <a:rPr lang="en-US" sz="1300" dirty="0">
                <a:ea typeface="黑体"/>
                <a:cs typeface="Arial"/>
              </a:rPr>
              <a:t>Starter Bundles</a:t>
            </a:r>
            <a:r>
              <a:rPr lang="en-US" altLang="zh-CN" sz="1300">
                <a:ea typeface="黑体"/>
                <a:cs typeface="Arial"/>
              </a:rPr>
              <a:t>​ &amp;</a:t>
            </a:r>
            <a:r>
              <a:rPr lang="en-US" altLang="zh-CN" sz="1300" dirty="0">
                <a:ea typeface="黑体"/>
                <a:cs typeface="Arial"/>
              </a:rPr>
              <a:t> Target</a:t>
            </a:r>
            <a:r>
              <a:rPr lang="en-US" altLang="zh-CN" sz="1300">
                <a:ea typeface="黑体"/>
                <a:cs typeface="Arial"/>
              </a:rPr>
              <a:t> </a:t>
            </a:r>
            <a:r>
              <a:rPr lang="en-US" sz="1300" dirty="0">
                <a:ea typeface="黑体"/>
                <a:cs typeface="Arial"/>
              </a:rPr>
              <a:t>Goods</a:t>
            </a:r>
          </a:p>
        </p:txBody>
      </p:sp>
      <p:grpSp>
        <p:nvGrpSpPr>
          <p:cNvPr id="39" name="组合 38">
            <a:extLst>
              <a:ext uri="{FF2B5EF4-FFF2-40B4-BE49-F238E27FC236}">
                <a16:creationId xmlns:a16="http://schemas.microsoft.com/office/drawing/2014/main" id="{301D4EAA-45DA-8595-F924-63D7466E49C1}"/>
              </a:ext>
            </a:extLst>
          </p:cNvPr>
          <p:cNvGrpSpPr/>
          <p:nvPr/>
        </p:nvGrpSpPr>
        <p:grpSpPr>
          <a:xfrm>
            <a:off x="6311020" y="2575548"/>
            <a:ext cx="323319" cy="330440"/>
            <a:chOff x="5895172" y="5037033"/>
            <a:chExt cx="658028" cy="686513"/>
          </a:xfrm>
        </p:grpSpPr>
        <p:sp>
          <p:nvSpPr>
            <p:cNvPr id="38" name="椭圆 37">
              <a:extLst>
                <a:ext uri="{FF2B5EF4-FFF2-40B4-BE49-F238E27FC236}">
                  <a16:creationId xmlns:a16="http://schemas.microsoft.com/office/drawing/2014/main" id="{66304E2F-5CA9-25F9-A8D5-7DB546483CE1}"/>
                </a:ext>
              </a:extLst>
            </p:cNvPr>
            <p:cNvSpPr/>
            <p:nvPr/>
          </p:nvSpPr>
          <p:spPr>
            <a:xfrm>
              <a:off x="5895172" y="5037033"/>
              <a:ext cx="658028" cy="6865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zh-CN" altLang="en-US" sz="1400" err="1">
                <a:solidFill>
                  <a:schemeClr val="tx1"/>
                </a:solidFill>
              </a:endParaRPr>
            </a:p>
          </p:txBody>
        </p:sp>
        <p:pic>
          <p:nvPicPr>
            <p:cNvPr id="35" name="图片 34">
              <a:extLst>
                <a:ext uri="{FF2B5EF4-FFF2-40B4-BE49-F238E27FC236}">
                  <a16:creationId xmlns:a16="http://schemas.microsoft.com/office/drawing/2014/main" id="{FBB4120B-3135-CD43-CC80-11469FC2D9F6}"/>
                </a:ext>
              </a:extLst>
            </p:cNvPr>
            <p:cNvPicPr>
              <a:picLocks noChangeAspect="1"/>
            </p:cNvPicPr>
            <p:nvPr/>
          </p:nvPicPr>
          <p:blipFill>
            <a:blip r:embed="rId4"/>
            <a:stretch>
              <a:fillRect/>
            </a:stretch>
          </p:blipFill>
          <p:spPr>
            <a:xfrm>
              <a:off x="5960240" y="5130633"/>
              <a:ext cx="528859" cy="502609"/>
            </a:xfrm>
            <a:prstGeom prst="rect">
              <a:avLst/>
            </a:prstGeom>
          </p:spPr>
        </p:pic>
      </p:grpSp>
      <p:sp>
        <p:nvSpPr>
          <p:cNvPr id="37" name="文本框 36">
            <a:extLst>
              <a:ext uri="{FF2B5EF4-FFF2-40B4-BE49-F238E27FC236}">
                <a16:creationId xmlns:a16="http://schemas.microsoft.com/office/drawing/2014/main" id="{363B18FD-F39C-6A51-D7B7-F63B58B71E3B}"/>
              </a:ext>
            </a:extLst>
          </p:cNvPr>
          <p:cNvSpPr txBox="1"/>
          <p:nvPr/>
        </p:nvSpPr>
        <p:spPr>
          <a:xfrm>
            <a:off x="6713685" y="2649758"/>
            <a:ext cx="3101636" cy="1938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en-US" altLang="zh-CN" sz="1400" b="1">
                <a:ea typeface="黑体"/>
                <a:cs typeface="Arial"/>
              </a:rPr>
              <a:t>Top</a:t>
            </a:r>
            <a:r>
              <a:rPr lang="zh-CN" altLang="en-US" sz="1400" b="1">
                <a:ea typeface="黑体"/>
                <a:cs typeface="Arial"/>
              </a:rPr>
              <a:t> Retailer Contributors </a:t>
            </a:r>
            <a:endParaRPr lang="en-US" altLang="zh-CN" sz="1400" b="1">
              <a:ea typeface="黑体"/>
              <a:cs typeface="Arial"/>
            </a:endParaRPr>
          </a:p>
        </p:txBody>
      </p:sp>
      <p:grpSp>
        <p:nvGrpSpPr>
          <p:cNvPr id="43" name="组合 42">
            <a:extLst>
              <a:ext uri="{FF2B5EF4-FFF2-40B4-BE49-F238E27FC236}">
                <a16:creationId xmlns:a16="http://schemas.microsoft.com/office/drawing/2014/main" id="{A43CD44D-B96B-41E2-7A26-27120A184E79}"/>
              </a:ext>
            </a:extLst>
          </p:cNvPr>
          <p:cNvGrpSpPr/>
          <p:nvPr/>
        </p:nvGrpSpPr>
        <p:grpSpPr>
          <a:xfrm>
            <a:off x="9420240" y="2538662"/>
            <a:ext cx="326828" cy="319707"/>
            <a:chOff x="7934627" y="5769538"/>
            <a:chExt cx="661538" cy="661538"/>
          </a:xfrm>
        </p:grpSpPr>
        <p:sp>
          <p:nvSpPr>
            <p:cNvPr id="41" name="椭圆 40">
              <a:extLst>
                <a:ext uri="{FF2B5EF4-FFF2-40B4-BE49-F238E27FC236}">
                  <a16:creationId xmlns:a16="http://schemas.microsoft.com/office/drawing/2014/main" id="{7260D5EF-07A0-30F5-F72E-54D7CF7B6772}"/>
                </a:ext>
              </a:extLst>
            </p:cNvPr>
            <p:cNvSpPr/>
            <p:nvPr/>
          </p:nvSpPr>
          <p:spPr>
            <a:xfrm>
              <a:off x="7934627" y="5769538"/>
              <a:ext cx="661538" cy="661538"/>
            </a:xfrm>
            <a:prstGeom prst="ellipse">
              <a:avLst/>
            </a:prstGeom>
            <a:solidFill>
              <a:srgbClr val="E4D4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zh-CN" altLang="en-US" sz="1400" err="1">
                <a:solidFill>
                  <a:schemeClr val="tx1"/>
                </a:solidFill>
              </a:endParaRPr>
            </a:p>
          </p:txBody>
        </p:sp>
        <p:pic>
          <p:nvPicPr>
            <p:cNvPr id="42" name="图片 41" descr="图标&#10;&#10;AI 生成的内容可能不正确。">
              <a:extLst>
                <a:ext uri="{FF2B5EF4-FFF2-40B4-BE49-F238E27FC236}">
                  <a16:creationId xmlns:a16="http://schemas.microsoft.com/office/drawing/2014/main" id="{7163159C-DB5C-26E3-36EE-A335B6ED367A}"/>
                </a:ext>
              </a:extLst>
            </p:cNvPr>
            <p:cNvPicPr>
              <a:picLocks noChangeAspect="1"/>
            </p:cNvPicPr>
            <p:nvPr/>
          </p:nvPicPr>
          <p:blipFill>
            <a:blip r:embed="rId5"/>
            <a:stretch>
              <a:fillRect/>
            </a:stretch>
          </p:blipFill>
          <p:spPr>
            <a:xfrm>
              <a:off x="8038736" y="5864141"/>
              <a:ext cx="465746" cy="439494"/>
            </a:xfrm>
            <a:prstGeom prst="rect">
              <a:avLst/>
            </a:prstGeom>
          </p:spPr>
        </p:pic>
      </p:grpSp>
      <p:sp>
        <p:nvSpPr>
          <p:cNvPr id="45" name="文本框 44">
            <a:extLst>
              <a:ext uri="{FF2B5EF4-FFF2-40B4-BE49-F238E27FC236}">
                <a16:creationId xmlns:a16="http://schemas.microsoft.com/office/drawing/2014/main" id="{237E0317-7AE3-675A-4AC1-B1FA460FFD69}"/>
              </a:ext>
            </a:extLst>
          </p:cNvPr>
          <p:cNvSpPr txBox="1"/>
          <p:nvPr/>
        </p:nvSpPr>
        <p:spPr>
          <a:xfrm>
            <a:off x="9829254" y="2624283"/>
            <a:ext cx="1433949" cy="1938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zh-CN" altLang="en-US" sz="1400" b="1">
                <a:ea typeface="黑体"/>
                <a:cs typeface="Arial"/>
              </a:rPr>
              <a:t>Priorities</a:t>
            </a:r>
          </a:p>
        </p:txBody>
      </p:sp>
      <p:sp>
        <p:nvSpPr>
          <p:cNvPr id="47" name="文本框 46">
            <a:extLst>
              <a:ext uri="{FF2B5EF4-FFF2-40B4-BE49-F238E27FC236}">
                <a16:creationId xmlns:a16="http://schemas.microsoft.com/office/drawing/2014/main" id="{FE87797B-C71A-3DE0-712D-D3CAB2BDF6A2}"/>
              </a:ext>
            </a:extLst>
          </p:cNvPr>
          <p:cNvSpPr txBox="1"/>
          <p:nvPr/>
        </p:nvSpPr>
        <p:spPr>
          <a:xfrm>
            <a:off x="6468264" y="2892388"/>
            <a:ext cx="2801171" cy="14633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nSpc>
                <a:spcPct val="150000"/>
              </a:lnSpc>
              <a:buFont typeface="Arial,Sans-Serif"/>
              <a:buChar char="•"/>
            </a:pPr>
            <a:r>
              <a:rPr lang="en-US" sz="1300" dirty="0">
                <a:cs typeface="Arial"/>
              </a:rPr>
              <a:t>Starter Bundles</a:t>
            </a:r>
            <a:r>
              <a:rPr lang="en-US" altLang="zh-CN" sz="1300" dirty="0">
                <a:ea typeface="黑体"/>
                <a:cs typeface="Arial"/>
              </a:rPr>
              <a:t>: Retailer A</a:t>
            </a:r>
            <a:endParaRPr lang="zh-CN" sz="1300" dirty="0">
              <a:ea typeface="黑体"/>
              <a:cs typeface="Arial"/>
            </a:endParaRPr>
          </a:p>
          <a:p>
            <a:pPr marL="285750" indent="-285750">
              <a:lnSpc>
                <a:spcPct val="150000"/>
              </a:lnSpc>
              <a:buFont typeface="Arial"/>
              <a:buChar char="•"/>
            </a:pPr>
            <a:r>
              <a:rPr lang="en-US" altLang="zh-CN" sz="1300" dirty="0">
                <a:ea typeface="黑体"/>
                <a:cs typeface="Arial"/>
              </a:rPr>
              <a:t>Target Goods: </a:t>
            </a:r>
            <a:r>
              <a:rPr lang="en-US" sz="1300" dirty="0">
                <a:ea typeface="黑体"/>
                <a:cs typeface="Arial"/>
              </a:rPr>
              <a:t>Retailer B</a:t>
            </a:r>
            <a:endParaRPr lang="en-US" sz="1300" dirty="0">
              <a:solidFill>
                <a:srgbClr val="000000"/>
              </a:solidFill>
              <a:ea typeface="黑体"/>
              <a:cs typeface="Arial"/>
            </a:endParaRPr>
          </a:p>
          <a:p>
            <a:pPr marL="285750" indent="-285750">
              <a:lnSpc>
                <a:spcPct val="150000"/>
              </a:lnSpc>
              <a:buFont typeface="Arial,Sans-Serif"/>
              <a:buChar char="•"/>
            </a:pPr>
            <a:r>
              <a:rPr lang="en-US" altLang="zh-CN" sz="1300" dirty="0">
                <a:ea typeface="黑体"/>
                <a:cs typeface="Arial"/>
              </a:rPr>
              <a:t>Fast-moving Goods: Retailer A, </a:t>
            </a:r>
            <a:br>
              <a:rPr lang="en-US" altLang="zh-CN" sz="1300" dirty="0">
                <a:ea typeface="黑体"/>
                <a:cs typeface="Arial"/>
              </a:rPr>
            </a:br>
            <a:r>
              <a:rPr lang="en-US" altLang="zh-CN" sz="1300" dirty="0">
                <a:ea typeface="黑体"/>
                <a:cs typeface="Arial"/>
              </a:rPr>
              <a:t>Retailer E</a:t>
            </a:r>
          </a:p>
          <a:p>
            <a:pPr marL="285750" indent="-285750">
              <a:lnSpc>
                <a:spcPct val="150000"/>
              </a:lnSpc>
              <a:buFont typeface="Arial,Sans-Serif"/>
              <a:buChar char="•"/>
            </a:pPr>
            <a:r>
              <a:rPr lang="en-US" altLang="zh-CN" sz="1300" dirty="0">
                <a:ea typeface="黑体"/>
                <a:cs typeface="Arial"/>
              </a:rPr>
              <a:t>Durable Goods: Retailer E</a:t>
            </a:r>
          </a:p>
        </p:txBody>
      </p:sp>
      <p:sp>
        <p:nvSpPr>
          <p:cNvPr id="48" name="文本框 47">
            <a:extLst>
              <a:ext uri="{FF2B5EF4-FFF2-40B4-BE49-F238E27FC236}">
                <a16:creationId xmlns:a16="http://schemas.microsoft.com/office/drawing/2014/main" id="{47366A8D-BFC1-210B-5E69-206E60B21AE5}"/>
              </a:ext>
            </a:extLst>
          </p:cNvPr>
          <p:cNvSpPr txBox="1"/>
          <p:nvPr/>
        </p:nvSpPr>
        <p:spPr>
          <a:xfrm>
            <a:off x="9421809" y="2882218"/>
            <a:ext cx="2807441" cy="116326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nSpc>
                <a:spcPct val="150000"/>
              </a:lnSpc>
              <a:buFont typeface="Arial,Sans-Serif"/>
              <a:buChar char="•"/>
            </a:pPr>
            <a:r>
              <a:rPr lang="en-US" altLang="zh-CN" sz="1300">
                <a:ea typeface="黑体"/>
                <a:cs typeface="Arial"/>
              </a:rPr>
              <a:t>Focus on both poor performers </a:t>
            </a:r>
            <a:endParaRPr lang="zh-CN" altLang="en-US">
              <a:ea typeface="黑体" panose="02010609060101010101" pitchFamily="49" charset="-122"/>
              <a:cs typeface="Arial"/>
            </a:endParaRPr>
          </a:p>
          <a:p>
            <a:pPr>
              <a:lnSpc>
                <a:spcPct val="150000"/>
              </a:lnSpc>
            </a:pPr>
            <a:r>
              <a:rPr lang="en-US" altLang="zh-CN" sz="1300">
                <a:ea typeface="黑体"/>
                <a:cs typeface="Arial"/>
              </a:rPr>
              <a:t>      &amp; top retailer contributors</a:t>
            </a:r>
            <a:r>
              <a:rPr lang="zh-CN" sz="1300">
                <a:ea typeface="黑体"/>
                <a:cs typeface="Arial"/>
              </a:rPr>
              <a:t>​</a:t>
            </a:r>
            <a:endParaRPr lang="zh-CN">
              <a:ea typeface="黑体"/>
              <a:cs typeface="Arial" panose="020B0604020202020204"/>
            </a:endParaRPr>
          </a:p>
          <a:p>
            <a:pPr marL="285750" indent="-285750">
              <a:lnSpc>
                <a:spcPct val="150000"/>
              </a:lnSpc>
              <a:buFont typeface="Arial,Sans-Serif"/>
              <a:buChar char="•"/>
            </a:pPr>
            <a:r>
              <a:rPr lang="en-US" altLang="zh-CN" sz="1300" dirty="0">
                <a:ea typeface="黑体"/>
                <a:cs typeface="Arial"/>
              </a:rPr>
              <a:t>Retailer E</a:t>
            </a:r>
            <a:r>
              <a:rPr lang="en-US" altLang="zh-CN" sz="1300">
                <a:ea typeface="黑体"/>
                <a:cs typeface="Arial"/>
              </a:rPr>
              <a:t>: </a:t>
            </a:r>
            <a:r>
              <a:rPr lang="en-US" altLang="zh-CN" sz="1300" dirty="0">
                <a:ea typeface="黑体"/>
                <a:cs typeface="Arial"/>
              </a:rPr>
              <a:t>Fast-moving goods</a:t>
            </a:r>
            <a:endParaRPr lang="zh-CN">
              <a:cs typeface="Arial" panose="020B0604020202020204"/>
            </a:endParaRPr>
          </a:p>
          <a:p>
            <a:pPr marL="285750" indent="-285750">
              <a:lnSpc>
                <a:spcPct val="150000"/>
              </a:lnSpc>
              <a:buFont typeface="Arial,Sans-Serif"/>
              <a:buChar char="•"/>
            </a:pPr>
            <a:r>
              <a:rPr lang="en-US" altLang="zh-CN" sz="1300" dirty="0">
                <a:ea typeface="黑体"/>
                <a:cs typeface="Arial"/>
              </a:rPr>
              <a:t>Retailer B</a:t>
            </a:r>
            <a:r>
              <a:rPr lang="en-US" altLang="zh-CN" sz="1300">
                <a:ea typeface="黑体"/>
                <a:cs typeface="Arial"/>
              </a:rPr>
              <a:t>:</a:t>
            </a:r>
            <a:r>
              <a:rPr lang="en-US" altLang="zh-CN" sz="1300" dirty="0">
                <a:ea typeface="黑体"/>
                <a:cs typeface="Arial"/>
              </a:rPr>
              <a:t> Target</a:t>
            </a:r>
            <a:r>
              <a:rPr lang="en-US" altLang="zh-CN" sz="1300">
                <a:ea typeface="黑体"/>
                <a:cs typeface="Arial"/>
              </a:rPr>
              <a:t> </a:t>
            </a:r>
            <a:r>
              <a:rPr lang="en-US" altLang="zh-CN" sz="1300" dirty="0">
                <a:ea typeface="黑体"/>
                <a:cs typeface="Arial"/>
              </a:rPr>
              <a:t>Goods</a:t>
            </a:r>
            <a:endParaRPr lang="zh-CN">
              <a:cs typeface="Arial" panose="020B0604020202020204"/>
            </a:endParaRPr>
          </a:p>
        </p:txBody>
      </p:sp>
      <p:sp>
        <p:nvSpPr>
          <p:cNvPr id="54" name="文本框 53">
            <a:extLst>
              <a:ext uri="{FF2B5EF4-FFF2-40B4-BE49-F238E27FC236}">
                <a16:creationId xmlns:a16="http://schemas.microsoft.com/office/drawing/2014/main" id="{56C52265-F83F-6D10-1BF3-183C0C6834EE}"/>
              </a:ext>
            </a:extLst>
          </p:cNvPr>
          <p:cNvSpPr txBox="1"/>
          <p:nvPr/>
        </p:nvSpPr>
        <p:spPr>
          <a:xfrm>
            <a:off x="3214255" y="4786745"/>
            <a:ext cx="2858155" cy="166199"/>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90000"/>
              </a:lnSpc>
            </a:pPr>
            <a:r>
              <a:rPr lang="en-US" sz="1200" b="1" dirty="0">
                <a:ea typeface="黑体"/>
                <a:cs typeface="Arial"/>
              </a:rPr>
              <a:t>Retailer E: Fast-moving Goods</a:t>
            </a:r>
            <a:r>
              <a:rPr lang="en-US" sz="1200" b="1">
                <a:ea typeface="黑体"/>
                <a:cs typeface="Arial"/>
              </a:rPr>
              <a:t> Ratings</a:t>
            </a:r>
            <a:endParaRPr lang="zh-CN"/>
          </a:p>
        </p:txBody>
      </p:sp>
      <p:sp>
        <p:nvSpPr>
          <p:cNvPr id="55" name="文本框 54">
            <a:extLst>
              <a:ext uri="{FF2B5EF4-FFF2-40B4-BE49-F238E27FC236}">
                <a16:creationId xmlns:a16="http://schemas.microsoft.com/office/drawing/2014/main" id="{9970B57F-8D97-623A-8B96-3E881FF747FC}"/>
              </a:ext>
            </a:extLst>
          </p:cNvPr>
          <p:cNvSpPr txBox="1"/>
          <p:nvPr/>
        </p:nvSpPr>
        <p:spPr>
          <a:xfrm>
            <a:off x="8963889" y="4799659"/>
            <a:ext cx="2333780" cy="166199"/>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90000"/>
              </a:lnSpc>
            </a:pPr>
            <a:r>
              <a:rPr lang="en-US" sz="1200" b="1" dirty="0">
                <a:ea typeface="黑体"/>
                <a:cs typeface="Arial"/>
              </a:rPr>
              <a:t>Brand D : Target Goods </a:t>
            </a:r>
            <a:r>
              <a:rPr lang="en-US" sz="1200" b="1">
                <a:ea typeface="黑体"/>
                <a:cs typeface="Arial"/>
              </a:rPr>
              <a:t>Ratings</a:t>
            </a:r>
            <a:endParaRPr lang="zh-CN"/>
          </a:p>
        </p:txBody>
      </p:sp>
      <p:sp>
        <p:nvSpPr>
          <p:cNvPr id="56" name="文本框 55">
            <a:extLst>
              <a:ext uri="{FF2B5EF4-FFF2-40B4-BE49-F238E27FC236}">
                <a16:creationId xmlns:a16="http://schemas.microsoft.com/office/drawing/2014/main" id="{0F9D0939-08F1-681B-A09E-36CA045D4753}"/>
              </a:ext>
            </a:extLst>
          </p:cNvPr>
          <p:cNvSpPr txBox="1"/>
          <p:nvPr/>
        </p:nvSpPr>
        <p:spPr>
          <a:xfrm>
            <a:off x="6302828" y="5000502"/>
            <a:ext cx="2833667" cy="1246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zh-CN" altLang="en-US" sz="900" b="1">
                <a:ea typeface="黑体"/>
                <a:cs typeface="Arial"/>
              </a:rPr>
              <a:t>Retailer E fast-moving goods: 1 Star R</a:t>
            </a:r>
            <a:r>
              <a:rPr lang="zh-CN" altLang="en-US" sz="800" b="1">
                <a:ea typeface="黑体"/>
                <a:cs typeface="Arial"/>
              </a:rPr>
              <a:t>e</a:t>
            </a:r>
            <a:r>
              <a:rPr lang="zh-CN" altLang="en-US" sz="900" b="1">
                <a:ea typeface="黑体"/>
                <a:cs typeface="Arial"/>
              </a:rPr>
              <a:t>views</a:t>
            </a:r>
          </a:p>
        </p:txBody>
      </p:sp>
      <p:sp>
        <p:nvSpPr>
          <p:cNvPr id="57" name="文本框 56">
            <a:extLst>
              <a:ext uri="{FF2B5EF4-FFF2-40B4-BE49-F238E27FC236}">
                <a16:creationId xmlns:a16="http://schemas.microsoft.com/office/drawing/2014/main" id="{5F098247-B714-CEF5-95DF-6FA1A2DCD7EB}"/>
              </a:ext>
            </a:extLst>
          </p:cNvPr>
          <p:cNvSpPr txBox="1"/>
          <p:nvPr/>
        </p:nvSpPr>
        <p:spPr>
          <a:xfrm>
            <a:off x="6324600" y="5174673"/>
            <a:ext cx="2835942" cy="7478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50000"/>
              </a:lnSpc>
            </a:pPr>
            <a:r>
              <a:rPr lang="zh-CN" sz="900" b="1">
                <a:solidFill>
                  <a:srgbClr val="8112F2"/>
                </a:solidFill>
                <a:ea typeface="黑体"/>
                <a:cs typeface="Arial"/>
              </a:rPr>
              <a:t>20.5%</a:t>
            </a:r>
            <a:r>
              <a:rPr lang="zh-CN" sz="900">
                <a:ea typeface="黑体"/>
                <a:cs typeface="Arial"/>
              </a:rPr>
              <a:t> </a:t>
            </a:r>
            <a:r>
              <a:rPr lang="en-US" altLang="zh-CN" sz="900" dirty="0">
                <a:ea typeface="黑体"/>
                <a:cs typeface="Arial"/>
              </a:rPr>
              <a:t>Retailer </a:t>
            </a:r>
            <a:r>
              <a:rPr lang="en-US" altLang="en-US" sz="900" dirty="0">
                <a:ea typeface="黑体"/>
                <a:cs typeface="Arial"/>
              </a:rPr>
              <a:t>E</a:t>
            </a:r>
            <a:r>
              <a:rPr lang="zh-CN" altLang="en-US" sz="900">
                <a:ea typeface="黑体"/>
                <a:cs typeface="Arial"/>
              </a:rPr>
              <a:t> </a:t>
            </a:r>
            <a:r>
              <a:rPr lang="en-US" altLang="zh-CN" sz="900" dirty="0">
                <a:ea typeface="黑体"/>
                <a:cs typeface="Arial"/>
              </a:rPr>
              <a:t>Products</a:t>
            </a:r>
            <a:endParaRPr lang="zh-CN" sz="900">
              <a:ea typeface="黑体"/>
              <a:cs typeface="Arial" panose="020B0604020202020204"/>
            </a:endParaRPr>
          </a:p>
          <a:p>
            <a:pPr>
              <a:lnSpc>
                <a:spcPct val="150000"/>
              </a:lnSpc>
            </a:pPr>
            <a:r>
              <a:rPr lang="zh-CN" altLang="en-US" sz="900" b="1">
                <a:solidFill>
                  <a:srgbClr val="8112F2"/>
                </a:solidFill>
                <a:latin typeface="Arial"/>
                <a:ea typeface="黑体"/>
                <a:cs typeface="Segoe UI"/>
              </a:rPr>
              <a:t>19.5%</a:t>
            </a:r>
            <a:r>
              <a:rPr lang="zh-CN" altLang="en-US" sz="900">
                <a:latin typeface="Arial"/>
                <a:ea typeface="黑体"/>
                <a:cs typeface="Segoe UI"/>
              </a:rPr>
              <a:t> </a:t>
            </a:r>
            <a:r>
              <a:rPr lang="en-US" altLang="zh-CN" sz="900" dirty="0">
                <a:latin typeface="Arial"/>
                <a:ea typeface="+mn-lt"/>
                <a:cs typeface="Arial"/>
              </a:rPr>
              <a:t>Retailer</a:t>
            </a:r>
            <a:r>
              <a:rPr lang="zh-CN" altLang="en-US" sz="900">
                <a:latin typeface="Arial"/>
                <a:ea typeface="黑体"/>
                <a:cs typeface="Segoe UI"/>
              </a:rPr>
              <a:t> E Products</a:t>
            </a:r>
          </a:p>
          <a:p>
            <a:pPr>
              <a:lnSpc>
                <a:spcPct val="90000"/>
              </a:lnSpc>
            </a:pPr>
            <a:endParaRPr lang="zh-CN" altLang="en-US" sz="1000">
              <a:latin typeface="Arial"/>
              <a:ea typeface="黑体"/>
              <a:cs typeface="Segoe UI"/>
            </a:endParaRPr>
          </a:p>
          <a:p>
            <a:pPr>
              <a:lnSpc>
                <a:spcPct val="90000"/>
              </a:lnSpc>
            </a:pPr>
            <a:r>
              <a:rPr lang="zh-CN" sz="1400">
                <a:latin typeface="Arial"/>
                <a:cs typeface="Segoe UI"/>
              </a:rPr>
              <a:t>​</a:t>
            </a:r>
          </a:p>
        </p:txBody>
      </p:sp>
      <p:sp>
        <p:nvSpPr>
          <p:cNvPr id="58" name="文本框 57">
            <a:extLst>
              <a:ext uri="{FF2B5EF4-FFF2-40B4-BE49-F238E27FC236}">
                <a16:creationId xmlns:a16="http://schemas.microsoft.com/office/drawing/2014/main" id="{7E41298C-4A04-B1B5-63A3-B86C3AAA6ECC}"/>
              </a:ext>
            </a:extLst>
          </p:cNvPr>
          <p:cNvSpPr txBox="1"/>
          <p:nvPr/>
        </p:nvSpPr>
        <p:spPr>
          <a:xfrm>
            <a:off x="6324599" y="5943601"/>
            <a:ext cx="2551958"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pPr>
            <a:r>
              <a:rPr lang="zh-CN" altLang="en-US" sz="900" b="1">
                <a:ea typeface="黑体"/>
                <a:cs typeface="Arial"/>
              </a:rPr>
              <a:t>Retailer B Target Goods: 1 Star Re</a:t>
            </a:r>
            <a:r>
              <a:rPr lang="zh-CN" altLang="en-US" sz="1000" b="1">
                <a:ea typeface="黑体"/>
                <a:cs typeface="Arial"/>
              </a:rPr>
              <a:t>views</a:t>
            </a:r>
          </a:p>
        </p:txBody>
      </p:sp>
      <p:sp>
        <p:nvSpPr>
          <p:cNvPr id="59" name="文本框 58">
            <a:extLst>
              <a:ext uri="{FF2B5EF4-FFF2-40B4-BE49-F238E27FC236}">
                <a16:creationId xmlns:a16="http://schemas.microsoft.com/office/drawing/2014/main" id="{0F19973E-41FD-FD5E-E904-FE67E7658A88}"/>
              </a:ext>
            </a:extLst>
          </p:cNvPr>
          <p:cNvSpPr txBox="1"/>
          <p:nvPr/>
        </p:nvSpPr>
        <p:spPr>
          <a:xfrm>
            <a:off x="6324599" y="6096000"/>
            <a:ext cx="2835942" cy="18203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50000"/>
              </a:lnSpc>
            </a:pPr>
            <a:r>
              <a:rPr lang="en-US" altLang="zh-CN" sz="900" b="1">
                <a:solidFill>
                  <a:srgbClr val="8112F2"/>
                </a:solidFill>
                <a:latin typeface="Arial"/>
                <a:ea typeface="黑体"/>
                <a:cs typeface="Segoe UI"/>
              </a:rPr>
              <a:t>33.4%</a:t>
            </a:r>
            <a:r>
              <a:rPr lang="en-US" altLang="zh-CN" sz="900">
                <a:latin typeface="Arial"/>
                <a:ea typeface="黑体"/>
                <a:cs typeface="Segoe UI"/>
              </a:rPr>
              <a:t> </a:t>
            </a:r>
            <a:r>
              <a:rPr lang="en-US" altLang="zh-CN" sz="900" dirty="0">
                <a:latin typeface="Arial"/>
                <a:ea typeface="黑体"/>
                <a:cs typeface="Segoe UI"/>
              </a:rPr>
              <a:t>Brand D Product</a:t>
            </a:r>
            <a:endParaRPr lang="zh-CN" altLang="en-US" sz="900">
              <a:latin typeface="Arial"/>
              <a:ea typeface="黑体" panose="02010609060101010101" pitchFamily="49" charset="-122"/>
              <a:cs typeface="Arial" panose="020B0604020202020204"/>
            </a:endParaRPr>
          </a:p>
        </p:txBody>
      </p:sp>
      <p:pic>
        <p:nvPicPr>
          <p:cNvPr id="62" name="图片 61" descr="图表&#10;&#10;AI 生成的内容可能不正确。">
            <a:extLst>
              <a:ext uri="{FF2B5EF4-FFF2-40B4-BE49-F238E27FC236}">
                <a16:creationId xmlns:a16="http://schemas.microsoft.com/office/drawing/2014/main" id="{45D5B34E-303C-4DFD-6DAD-9D5BE35E163C}"/>
              </a:ext>
            </a:extLst>
          </p:cNvPr>
          <p:cNvPicPr>
            <a:picLocks noChangeAspect="1"/>
          </p:cNvPicPr>
          <p:nvPr/>
        </p:nvPicPr>
        <p:blipFill>
          <a:blip r:embed="rId6"/>
          <a:stretch>
            <a:fillRect/>
          </a:stretch>
        </p:blipFill>
        <p:spPr>
          <a:xfrm>
            <a:off x="3217717" y="4994130"/>
            <a:ext cx="3020294" cy="1677268"/>
          </a:xfrm>
          <a:prstGeom prst="rect">
            <a:avLst/>
          </a:prstGeom>
        </p:spPr>
      </p:pic>
      <p:pic>
        <p:nvPicPr>
          <p:cNvPr id="63" name="图片 62" descr="图表, 漏斗图&#10;&#10;AI 生成的内容可能不正确。">
            <a:extLst>
              <a:ext uri="{FF2B5EF4-FFF2-40B4-BE49-F238E27FC236}">
                <a16:creationId xmlns:a16="http://schemas.microsoft.com/office/drawing/2014/main" id="{15E6E428-4B9C-B1C8-DA26-E070CA0FFAC7}"/>
              </a:ext>
            </a:extLst>
          </p:cNvPr>
          <p:cNvPicPr>
            <a:picLocks noChangeAspect="1"/>
          </p:cNvPicPr>
          <p:nvPr/>
        </p:nvPicPr>
        <p:blipFill>
          <a:blip r:embed="rId7"/>
          <a:stretch>
            <a:fillRect/>
          </a:stretch>
        </p:blipFill>
        <p:spPr>
          <a:xfrm>
            <a:off x="8962592" y="4997125"/>
            <a:ext cx="3140654" cy="1670339"/>
          </a:xfrm>
          <a:prstGeom prst="rect">
            <a:avLst/>
          </a:prstGeom>
        </p:spPr>
      </p:pic>
      <p:sp>
        <p:nvSpPr>
          <p:cNvPr id="3" name="文本框 2">
            <a:extLst>
              <a:ext uri="{FF2B5EF4-FFF2-40B4-BE49-F238E27FC236}">
                <a16:creationId xmlns:a16="http://schemas.microsoft.com/office/drawing/2014/main" id="{4B8A73C4-34AA-3AFB-2FFA-EF6DDE3E7F37}"/>
              </a:ext>
            </a:extLst>
          </p:cNvPr>
          <p:cNvSpPr txBox="1"/>
          <p:nvPr/>
        </p:nvSpPr>
        <p:spPr>
          <a:xfrm>
            <a:off x="8637947" y="2022942"/>
            <a:ext cx="1021113" cy="110800"/>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90000"/>
              </a:lnSpc>
            </a:pPr>
            <a:r>
              <a:rPr lang="zh-CN" altLang="en-US" sz="800">
                <a:solidFill>
                  <a:srgbClr val="A5A5A5"/>
                </a:solidFill>
                <a:ea typeface="黑体"/>
                <a:cs typeface="Arial"/>
              </a:rPr>
              <a:t>Data Source: Profitero</a:t>
            </a:r>
          </a:p>
        </p:txBody>
      </p:sp>
      <p:sp>
        <p:nvSpPr>
          <p:cNvPr id="4" name="文本框 3">
            <a:extLst>
              <a:ext uri="{FF2B5EF4-FFF2-40B4-BE49-F238E27FC236}">
                <a16:creationId xmlns:a16="http://schemas.microsoft.com/office/drawing/2014/main" id="{660FF3B4-5BAB-20FA-19C9-04B81BBE4588}"/>
              </a:ext>
            </a:extLst>
          </p:cNvPr>
          <p:cNvSpPr txBox="1"/>
          <p:nvPr/>
        </p:nvSpPr>
        <p:spPr>
          <a:xfrm>
            <a:off x="6337569" y="6551809"/>
            <a:ext cx="1021113" cy="110800"/>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90000"/>
              </a:lnSpc>
            </a:pPr>
            <a:r>
              <a:rPr lang="zh-CN" altLang="en-US" sz="800">
                <a:solidFill>
                  <a:srgbClr val="A5A5A5"/>
                </a:solidFill>
                <a:ea typeface="黑体"/>
                <a:cs typeface="Arial"/>
              </a:rPr>
              <a:t>Data Source: Profitero</a:t>
            </a:r>
          </a:p>
        </p:txBody>
      </p:sp>
      <p:sp>
        <p:nvSpPr>
          <p:cNvPr id="5" name="文本框 4">
            <a:extLst>
              <a:ext uri="{FF2B5EF4-FFF2-40B4-BE49-F238E27FC236}">
                <a16:creationId xmlns:a16="http://schemas.microsoft.com/office/drawing/2014/main" id="{32C615D9-A162-A08C-864A-417AD344D563}"/>
              </a:ext>
            </a:extLst>
          </p:cNvPr>
          <p:cNvSpPr txBox="1"/>
          <p:nvPr/>
        </p:nvSpPr>
        <p:spPr>
          <a:xfrm>
            <a:off x="6337570" y="4467093"/>
            <a:ext cx="1840247" cy="110800"/>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90000"/>
              </a:lnSpc>
            </a:pPr>
            <a:r>
              <a:rPr lang="zh-CN" altLang="en-US" sz="800">
                <a:solidFill>
                  <a:srgbClr val="A5A5A5"/>
                </a:solidFill>
                <a:ea typeface="黑体"/>
                <a:cs typeface="Arial"/>
              </a:rPr>
              <a:t>Data Source: </a:t>
            </a:r>
            <a:r>
              <a:rPr lang="en-US" altLang="en-US" sz="800" dirty="0">
                <a:solidFill>
                  <a:srgbClr val="A5A5A5"/>
                </a:solidFill>
                <a:ea typeface="黑体"/>
                <a:cs typeface="+mn-lt"/>
              </a:rPr>
              <a:t>S</a:t>
            </a:r>
            <a:r>
              <a:rPr lang="zh-CN" sz="800">
                <a:solidFill>
                  <a:srgbClr val="A5A5A5"/>
                </a:solidFill>
                <a:ea typeface="+mn-lt"/>
                <a:cs typeface="+mn-lt"/>
              </a:rPr>
              <a:t>ales by customer by SKU</a:t>
            </a:r>
            <a:endParaRPr lang="zh-CN" altLang="en-US" sz="800">
              <a:solidFill>
                <a:srgbClr val="A5A5A5"/>
              </a:solidFill>
              <a:ea typeface="黑体"/>
              <a:cs typeface="Arial"/>
            </a:endParaRPr>
          </a:p>
        </p:txBody>
      </p:sp>
      <p:sp>
        <p:nvSpPr>
          <p:cNvPr id="6" name="标题 1">
            <a:extLst>
              <a:ext uri="{FF2B5EF4-FFF2-40B4-BE49-F238E27FC236}">
                <a16:creationId xmlns:a16="http://schemas.microsoft.com/office/drawing/2014/main" id="{D2391B25-C911-C725-5138-E52CB45D2D53}"/>
              </a:ext>
            </a:extLst>
          </p:cNvPr>
          <p:cNvSpPr txBox="1">
            <a:spLocks/>
          </p:cNvSpPr>
          <p:nvPr/>
        </p:nvSpPr>
        <p:spPr bwMode="gray">
          <a:xfrm>
            <a:off x="381000" y="381000"/>
            <a:ext cx="2286000" cy="2215991"/>
          </a:xfrm>
          <a:prstGeom prst="rect">
            <a:avLst/>
          </a:prstGeom>
        </p:spPr>
        <p:txBody>
          <a:bodyPr vert="horz" wrap="square" lIns="0" tIns="0" rIns="0" bIns="0" rtlCol="0" anchor="t" anchorCtr="0">
            <a:no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r>
              <a:rPr lang="zh-CN" altLang="en-US">
                <a:ea typeface="黑体"/>
                <a:cs typeface="Arial"/>
              </a:rPr>
              <a:t>Appendix </a:t>
            </a:r>
            <a:r>
              <a:rPr lang="en-US" altLang="zh-CN">
                <a:ea typeface="黑体"/>
                <a:cs typeface="Arial"/>
              </a:rPr>
              <a:t>3</a:t>
            </a:r>
            <a:r>
              <a:rPr lang="zh-CN" altLang="en-US">
                <a:ea typeface="黑体"/>
                <a:cs typeface="Arial"/>
              </a:rPr>
              <a:t>.</a:t>
            </a:r>
            <a:r>
              <a:rPr lang="en-US" altLang="zh-CN">
                <a:ea typeface="黑体"/>
                <a:cs typeface="Arial"/>
              </a:rPr>
              <a:t>2</a:t>
            </a:r>
          </a:p>
          <a:p>
            <a:r>
              <a:rPr lang="en-US" altLang="zh-CN">
                <a:solidFill>
                  <a:schemeClr val="accent6"/>
                </a:solidFill>
                <a:ea typeface="黑体"/>
                <a:cs typeface="Arial"/>
              </a:rPr>
              <a:t>Competitive Analysis by retailer by category</a:t>
            </a:r>
            <a:endParaRPr lang="zh-CN" altLang="en-US">
              <a:solidFill>
                <a:schemeClr val="accent6"/>
              </a:solidFill>
            </a:endParaRPr>
          </a:p>
        </p:txBody>
      </p:sp>
      <p:sp>
        <p:nvSpPr>
          <p:cNvPr id="7" name="TextBox 6">
            <a:hlinkClick r:id="rId8" action="ppaction://hlinksldjump"/>
            <a:extLst>
              <a:ext uri="{FF2B5EF4-FFF2-40B4-BE49-F238E27FC236}">
                <a16:creationId xmlns:a16="http://schemas.microsoft.com/office/drawing/2014/main" id="{DC385B6D-FAA6-8873-B1FB-8B5AB2C6D10E}"/>
              </a:ext>
            </a:extLst>
          </p:cNvPr>
          <p:cNvSpPr txBox="1"/>
          <p:nvPr/>
        </p:nvSpPr>
        <p:spPr>
          <a:xfrm>
            <a:off x="380228" y="3029951"/>
            <a:ext cx="1453924" cy="193899"/>
          </a:xfrm>
          <a:prstGeom prst="rect">
            <a:avLst/>
          </a:prstGeom>
          <a:noFill/>
        </p:spPr>
        <p:txBody>
          <a:bodyPr wrap="none" lIns="0" tIns="0" rIns="0" bIns="0" rtlCol="0">
            <a:spAutoFit/>
          </a:bodyPr>
          <a:lstStyle/>
          <a:p>
            <a:pPr algn="l">
              <a:lnSpc>
                <a:spcPct val="90000"/>
              </a:lnSpc>
            </a:pPr>
            <a:r>
              <a:rPr lang="en-US" sz="1400">
                <a:solidFill>
                  <a:schemeClr val="accent3"/>
                </a:solidFill>
                <a:hlinkClick r:id="rId9" action="ppaction://hlinksldjump">
                  <a:extLst>
                    <a:ext uri="{A12FA001-AC4F-418D-AE19-62706E023703}">
                      <ahyp:hlinkClr xmlns:ahyp="http://schemas.microsoft.com/office/drawing/2018/hyperlinkcolor" val="tx"/>
                    </a:ext>
                  </a:extLst>
                </a:hlinkClick>
              </a:rPr>
              <a:t>Back to main slide</a:t>
            </a:r>
            <a:endParaRPr lang="en-US" sz="1400">
              <a:solidFill>
                <a:schemeClr val="accent3"/>
              </a:solidFill>
            </a:endParaRPr>
          </a:p>
        </p:txBody>
      </p:sp>
      <p:pic>
        <p:nvPicPr>
          <p:cNvPr id="8" name="Picture 7">
            <a:extLst>
              <a:ext uri="{FF2B5EF4-FFF2-40B4-BE49-F238E27FC236}">
                <a16:creationId xmlns:a16="http://schemas.microsoft.com/office/drawing/2014/main" id="{AAA78869-201D-B981-96B4-67F2B0CA795E}"/>
              </a:ext>
            </a:extLst>
          </p:cNvPr>
          <p:cNvPicPr>
            <a:picLocks noChangeAspect="1"/>
          </p:cNvPicPr>
          <p:nvPr/>
        </p:nvPicPr>
        <p:blipFill>
          <a:blip r:embed="rId10"/>
          <a:srcRect l="2907" r="408" b="476"/>
          <a:stretch/>
        </p:blipFill>
        <p:spPr>
          <a:xfrm>
            <a:off x="3142703" y="2314575"/>
            <a:ext cx="3159843" cy="2208764"/>
          </a:xfrm>
          <a:prstGeom prst="rect">
            <a:avLst/>
          </a:prstGeom>
        </p:spPr>
      </p:pic>
    </p:spTree>
    <p:extLst>
      <p:ext uri="{BB962C8B-B14F-4D97-AF65-F5344CB8AC3E}">
        <p14:creationId xmlns:p14="http://schemas.microsoft.com/office/powerpoint/2010/main" val="13317253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9FE5B509-F6CE-D6CD-8208-8A5C44357224}"/>
              </a:ext>
            </a:extLst>
          </p:cNvPr>
          <p:cNvSpPr>
            <a:spLocks noGrp="1"/>
          </p:cNvSpPr>
          <p:nvPr>
            <p:ph type="title"/>
          </p:nvPr>
        </p:nvSpPr>
        <p:spPr/>
        <p:txBody>
          <a:bodyPr/>
          <a:lstStyle/>
          <a:p>
            <a:r>
              <a:rPr lang="en-US" altLang="zh-TW">
                <a:ea typeface="微軟正黑體"/>
              </a:rPr>
              <a:t>Appendix 4.1</a:t>
            </a:r>
            <a:endParaRPr lang="zh-TW" altLang="en-US"/>
          </a:p>
        </p:txBody>
      </p:sp>
      <p:sp>
        <p:nvSpPr>
          <p:cNvPr id="4" name="TextBox 3">
            <a:hlinkClick r:id="rId3" action="ppaction://hlinksldjump"/>
            <a:extLst>
              <a:ext uri="{FF2B5EF4-FFF2-40B4-BE49-F238E27FC236}">
                <a16:creationId xmlns:a16="http://schemas.microsoft.com/office/drawing/2014/main" id="{51F1605B-9B4A-42DF-D534-B5DA4DFA4DD8}"/>
              </a:ext>
            </a:extLst>
          </p:cNvPr>
          <p:cNvSpPr txBox="1"/>
          <p:nvPr/>
        </p:nvSpPr>
        <p:spPr>
          <a:xfrm>
            <a:off x="380228" y="3029951"/>
            <a:ext cx="1453924" cy="193899"/>
          </a:xfrm>
          <a:prstGeom prst="rect">
            <a:avLst/>
          </a:prstGeom>
          <a:noFill/>
        </p:spPr>
        <p:txBody>
          <a:bodyPr wrap="none" lIns="0" tIns="0" rIns="0" bIns="0" rtlCol="0">
            <a:spAutoFit/>
          </a:bodyPr>
          <a:lstStyle/>
          <a:p>
            <a:pPr algn="l">
              <a:lnSpc>
                <a:spcPct val="90000"/>
              </a:lnSpc>
            </a:pPr>
            <a:r>
              <a:rPr lang="en-US" sz="1400">
                <a:solidFill>
                  <a:schemeClr val="accent3"/>
                </a:solidFill>
                <a:hlinkClick r:id="rId4" action="ppaction://hlinksldjump">
                  <a:extLst>
                    <a:ext uri="{A12FA001-AC4F-418D-AE19-62706E023703}">
                      <ahyp:hlinkClr xmlns:ahyp="http://schemas.microsoft.com/office/drawing/2018/hyperlinkcolor" val="tx"/>
                    </a:ext>
                  </a:extLst>
                </a:hlinkClick>
              </a:rPr>
              <a:t>Back to main slide</a:t>
            </a:r>
            <a:endParaRPr lang="en-US" sz="1400">
              <a:solidFill>
                <a:schemeClr val="accent3"/>
              </a:solidFill>
            </a:endParaRPr>
          </a:p>
        </p:txBody>
      </p:sp>
      <p:pic>
        <p:nvPicPr>
          <p:cNvPr id="5" name="Picture 4">
            <a:extLst>
              <a:ext uri="{FF2B5EF4-FFF2-40B4-BE49-F238E27FC236}">
                <a16:creationId xmlns:a16="http://schemas.microsoft.com/office/drawing/2014/main" id="{6DC1F78A-F2BF-BCF5-7964-565E882DC2EC}"/>
              </a:ext>
            </a:extLst>
          </p:cNvPr>
          <p:cNvPicPr>
            <a:picLocks noChangeAspect="1"/>
          </p:cNvPicPr>
          <p:nvPr/>
        </p:nvPicPr>
        <p:blipFill>
          <a:blip r:embed="rId5"/>
          <a:stretch>
            <a:fillRect/>
          </a:stretch>
        </p:blipFill>
        <p:spPr>
          <a:xfrm>
            <a:off x="2684145" y="66675"/>
            <a:ext cx="9509760" cy="6858000"/>
          </a:xfrm>
          <a:prstGeom prst="rect">
            <a:avLst/>
          </a:prstGeom>
        </p:spPr>
      </p:pic>
    </p:spTree>
    <p:extLst>
      <p:ext uri="{BB962C8B-B14F-4D97-AF65-F5344CB8AC3E}">
        <p14:creationId xmlns:p14="http://schemas.microsoft.com/office/powerpoint/2010/main" val="18070128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600D8-4F18-7798-00D9-53E49D300593}"/>
            </a:ext>
          </a:extLst>
        </p:cNvPr>
        <p:cNvGrpSpPr/>
        <p:nvPr/>
      </p:nvGrpSpPr>
      <p:grpSpPr>
        <a:xfrm>
          <a:off x="0" y="0"/>
          <a:ext cx="0" cy="0"/>
          <a:chOff x="0" y="0"/>
          <a:chExt cx="0" cy="0"/>
        </a:xfrm>
      </p:grpSpPr>
      <p:sp>
        <p:nvSpPr>
          <p:cNvPr id="4" name="矩形 3">
            <a:extLst>
              <a:ext uri="{FF2B5EF4-FFF2-40B4-BE49-F238E27FC236}">
                <a16:creationId xmlns:a16="http://schemas.microsoft.com/office/drawing/2014/main" id="{593F9455-6CFB-D8D2-76C0-0DB5BA457AAA}"/>
              </a:ext>
            </a:extLst>
          </p:cNvPr>
          <p:cNvSpPr/>
          <p:nvPr/>
        </p:nvSpPr>
        <p:spPr>
          <a:xfrm>
            <a:off x="3039256" y="3006757"/>
            <a:ext cx="9152744" cy="385124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9" tIns="72009" rIns="72009" bIns="72009"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lnSpc>
                <a:spcPct val="90000"/>
              </a:lnSpc>
            </a:pPr>
            <a:endParaRPr lang="zh-TW" altLang="en-US" sz="1400">
              <a:solidFill>
                <a:schemeClr val="tx1"/>
              </a:solidFill>
            </a:endParaRPr>
          </a:p>
        </p:txBody>
      </p:sp>
      <p:grpSp>
        <p:nvGrpSpPr>
          <p:cNvPr id="86" name="群組 85">
            <a:extLst>
              <a:ext uri="{FF2B5EF4-FFF2-40B4-BE49-F238E27FC236}">
                <a16:creationId xmlns:a16="http://schemas.microsoft.com/office/drawing/2014/main" id="{4B922643-9F5B-4B5A-EB9A-82DB488D17EE}"/>
              </a:ext>
            </a:extLst>
          </p:cNvPr>
          <p:cNvGrpSpPr/>
          <p:nvPr/>
        </p:nvGrpSpPr>
        <p:grpSpPr>
          <a:xfrm>
            <a:off x="6239624" y="3429000"/>
            <a:ext cx="2762895" cy="2286365"/>
            <a:chOff x="6218695" y="3362220"/>
            <a:chExt cx="2762895" cy="2286365"/>
          </a:xfrm>
        </p:grpSpPr>
        <p:sp>
          <p:nvSpPr>
            <p:cNvPr id="47" name="矩形 46">
              <a:extLst>
                <a:ext uri="{FF2B5EF4-FFF2-40B4-BE49-F238E27FC236}">
                  <a16:creationId xmlns:a16="http://schemas.microsoft.com/office/drawing/2014/main" id="{FBC0751F-D9C9-ADDE-EF6A-8E97F0353F37}"/>
                </a:ext>
              </a:extLst>
            </p:cNvPr>
            <p:cNvSpPr/>
            <p:nvPr/>
          </p:nvSpPr>
          <p:spPr>
            <a:xfrm>
              <a:off x="6326936" y="3565848"/>
              <a:ext cx="2654654" cy="1920654"/>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a:solidFill>
                  <a:schemeClr val="tx1"/>
                </a:solidFill>
              </a:endParaRPr>
            </a:p>
          </p:txBody>
        </p:sp>
        <p:sp>
          <p:nvSpPr>
            <p:cNvPr id="48" name="文字方塊 47">
              <a:extLst>
                <a:ext uri="{FF2B5EF4-FFF2-40B4-BE49-F238E27FC236}">
                  <a16:creationId xmlns:a16="http://schemas.microsoft.com/office/drawing/2014/main" id="{34E28DED-0A02-6482-B554-A563BE439ABB}"/>
                </a:ext>
              </a:extLst>
            </p:cNvPr>
            <p:cNvSpPr txBox="1"/>
            <p:nvPr/>
          </p:nvSpPr>
          <p:spPr>
            <a:xfrm>
              <a:off x="6218695" y="3405396"/>
              <a:ext cx="2567211" cy="637097"/>
            </a:xfrm>
            <a:prstGeom prst="rect">
              <a:avLst/>
            </a:prstGeom>
            <a:solidFill>
              <a:srgbClr val="E6E6E6"/>
            </a:solidFill>
          </p:spPr>
          <p:txBody>
            <a:bodyPr wrap="square" lIns="0" tIns="0" rIns="0" bIns="0" rtlCol="0" anchor="t">
              <a:spAutoFit/>
            </a:bodyPr>
            <a:lstStyle/>
            <a:p>
              <a:pPr marL="71755">
                <a:lnSpc>
                  <a:spcPct val="90000"/>
                </a:lnSpc>
              </a:pPr>
              <a:r>
                <a:rPr kumimoji="1" lang="en-US" altLang="zh-TW" sz="1600" b="1">
                  <a:solidFill>
                    <a:schemeClr val="tx2"/>
                  </a:solidFill>
                  <a:ea typeface="微軟正黑體"/>
                  <a:cs typeface="+mn-lt"/>
                </a:rPr>
                <a:t>         </a:t>
              </a:r>
              <a:r>
                <a:rPr lang="en-US" altLang="zh-TW" sz="1600" b="1">
                  <a:solidFill>
                    <a:schemeClr val="tx2"/>
                  </a:solidFill>
                  <a:ea typeface="+mn-lt"/>
                  <a:cs typeface="+mn-lt"/>
                </a:rPr>
                <a:t>Enhancing Product</a:t>
              </a:r>
            </a:p>
            <a:p>
              <a:pPr marL="71755">
                <a:lnSpc>
                  <a:spcPct val="90000"/>
                </a:lnSpc>
              </a:pPr>
              <a:r>
                <a:rPr lang="en-US" altLang="zh-TW" sz="1600" b="1">
                  <a:solidFill>
                    <a:schemeClr val="tx2"/>
                  </a:solidFill>
                  <a:ea typeface="+mn-lt"/>
                  <a:cs typeface="+mn-lt"/>
                </a:rPr>
                <a:t>         Perception</a:t>
              </a:r>
            </a:p>
            <a:p>
              <a:pPr marL="71755">
                <a:lnSpc>
                  <a:spcPct val="90000"/>
                </a:lnSpc>
              </a:pPr>
              <a:endParaRPr kumimoji="1" lang="en-US" altLang="zh-TW" sz="1400" b="1">
                <a:solidFill>
                  <a:schemeClr val="tx2"/>
                </a:solidFill>
                <a:ea typeface="微軟正黑體"/>
              </a:endParaRPr>
            </a:p>
          </p:txBody>
        </p:sp>
        <p:sp>
          <p:nvSpPr>
            <p:cNvPr id="49" name="文字方塊 48">
              <a:extLst>
                <a:ext uri="{FF2B5EF4-FFF2-40B4-BE49-F238E27FC236}">
                  <a16:creationId xmlns:a16="http://schemas.microsoft.com/office/drawing/2014/main" id="{3C2DF3B8-CD4B-A5DB-2D01-9C393DEDD33B}"/>
                </a:ext>
              </a:extLst>
            </p:cNvPr>
            <p:cNvSpPr txBox="1"/>
            <p:nvPr/>
          </p:nvSpPr>
          <p:spPr>
            <a:xfrm>
              <a:off x="6390110" y="3943503"/>
              <a:ext cx="2418353" cy="1705082"/>
            </a:xfrm>
            <a:prstGeom prst="rect">
              <a:avLst/>
            </a:prstGeom>
            <a:noFill/>
          </p:spPr>
          <p:txBody>
            <a:bodyPr wrap="square" lIns="0" tIns="0" rIns="0" bIns="0" rtlCol="0" anchor="t">
              <a:spAutoFit/>
            </a:bodyPr>
            <a:lstStyle/>
            <a:p>
              <a:pPr marL="285750" indent="-285750">
                <a:lnSpc>
                  <a:spcPct val="90000"/>
                </a:lnSpc>
                <a:spcAft>
                  <a:spcPts val="600"/>
                </a:spcAft>
                <a:buFont typeface="Arial" panose="020B0604020202020204" pitchFamily="34" charset="0"/>
                <a:buChar char="•"/>
              </a:pPr>
              <a:r>
                <a:rPr lang="en-US" sz="1400" dirty="0">
                  <a:ea typeface="+mn-lt"/>
                  <a:cs typeface="+mn-lt"/>
                </a:rPr>
                <a:t>Use high-quality images and short videos showing the product in use inside actual target products</a:t>
              </a:r>
              <a:endParaRPr lang="en-US" dirty="0">
                <a:ea typeface="+mn-lt"/>
                <a:cs typeface="+mn-lt"/>
              </a:endParaRPr>
            </a:p>
            <a:p>
              <a:pPr marL="285750" indent="-285750">
                <a:lnSpc>
                  <a:spcPct val="90000"/>
                </a:lnSpc>
                <a:spcAft>
                  <a:spcPts val="600"/>
                </a:spcAft>
                <a:buFont typeface="Arial,Sans-Serif" panose="020B0604020202020204" pitchFamily="34" charset="0"/>
                <a:buChar char="•"/>
              </a:pPr>
              <a:r>
                <a:rPr lang="en-US" sz="1400" dirty="0">
                  <a:cs typeface="Arial"/>
                </a:rPr>
                <a:t>Highlight before-and-after setup shots or easy setup guides for new users</a:t>
              </a:r>
            </a:p>
            <a:p>
              <a:pPr marL="285750" indent="-285750">
                <a:lnSpc>
                  <a:spcPct val="90000"/>
                </a:lnSpc>
                <a:spcAft>
                  <a:spcPts val="600"/>
                </a:spcAft>
                <a:buFont typeface="Arial" panose="020B0604020202020204" pitchFamily="34" charset="0"/>
                <a:buChar char="•"/>
              </a:pPr>
              <a:endParaRPr lang="en-US" sz="1400">
                <a:cs typeface="Arial"/>
              </a:endParaRPr>
            </a:p>
          </p:txBody>
        </p:sp>
        <p:pic>
          <p:nvPicPr>
            <p:cNvPr id="51" name="Graphic 394">
              <a:extLst>
                <a:ext uri="{FF2B5EF4-FFF2-40B4-BE49-F238E27FC236}">
                  <a16:creationId xmlns:a16="http://schemas.microsoft.com/office/drawing/2014/main" id="{1649FB3D-9F3B-9DB5-2838-111863A275D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37432" y="3362220"/>
              <a:ext cx="468369" cy="468000"/>
            </a:xfrm>
            <a:prstGeom prst="rect">
              <a:avLst/>
            </a:prstGeom>
          </p:spPr>
        </p:pic>
      </p:grpSp>
      <p:sp>
        <p:nvSpPr>
          <p:cNvPr id="2" name="標題 1">
            <a:extLst>
              <a:ext uri="{FF2B5EF4-FFF2-40B4-BE49-F238E27FC236}">
                <a16:creationId xmlns:a16="http://schemas.microsoft.com/office/drawing/2014/main" id="{EB5DEC64-77F6-7138-3E81-30C7EFD9518C}"/>
              </a:ext>
            </a:extLst>
          </p:cNvPr>
          <p:cNvSpPr>
            <a:spLocks noGrp="1"/>
          </p:cNvSpPr>
          <p:nvPr>
            <p:ph type="title"/>
          </p:nvPr>
        </p:nvSpPr>
        <p:spPr/>
        <p:txBody>
          <a:bodyPr/>
          <a:lstStyle/>
          <a:p>
            <a:r>
              <a:rPr lang="en-US">
                <a:ea typeface="+mj-lt"/>
                <a:cs typeface="+mj-lt"/>
              </a:rPr>
              <a:t>Appendix</a:t>
            </a:r>
            <a:r>
              <a:rPr lang="en-US" altLang="zh-TW">
                <a:ea typeface="+mj-lt"/>
                <a:cs typeface="+mj-lt"/>
              </a:rPr>
              <a:t> 4.2</a:t>
            </a:r>
            <a:br>
              <a:rPr lang="en-US" altLang="zh-TW">
                <a:ea typeface="+mj-lt"/>
                <a:cs typeface="+mj-lt"/>
              </a:rPr>
            </a:br>
            <a:r>
              <a:rPr lang="en-US" altLang="zh-CN">
                <a:solidFill>
                  <a:schemeClr val="accent6"/>
                </a:solidFill>
                <a:ea typeface="黑体"/>
                <a:cs typeface="Arial"/>
              </a:rPr>
              <a:t>Potential Next Steps</a:t>
            </a:r>
            <a:endParaRPr lang="zh-TW" b="0">
              <a:solidFill>
                <a:srgbClr val="000000"/>
              </a:solidFill>
              <a:ea typeface="+mj-lt"/>
              <a:cs typeface="+mj-lt"/>
            </a:endParaRPr>
          </a:p>
        </p:txBody>
      </p:sp>
      <p:sp>
        <p:nvSpPr>
          <p:cNvPr id="10" name="文字方塊 9">
            <a:extLst>
              <a:ext uri="{FF2B5EF4-FFF2-40B4-BE49-F238E27FC236}">
                <a16:creationId xmlns:a16="http://schemas.microsoft.com/office/drawing/2014/main" id="{6BF95A7B-B7B3-0A4C-E96B-91EF1DAE53B0}"/>
              </a:ext>
            </a:extLst>
          </p:cNvPr>
          <p:cNvSpPr txBox="1"/>
          <p:nvPr/>
        </p:nvSpPr>
        <p:spPr>
          <a:xfrm>
            <a:off x="3199162" y="864251"/>
            <a:ext cx="8017217" cy="193899"/>
          </a:xfrm>
          <a:prstGeom prst="rect">
            <a:avLst/>
          </a:prstGeom>
          <a:noFill/>
        </p:spPr>
        <p:txBody>
          <a:bodyPr wrap="square" lIns="0" tIns="0" rIns="0" bIns="0" rtlCol="0" anchor="t">
            <a:spAutoFit/>
          </a:bodyPr>
          <a:lstStyle/>
          <a:p>
            <a:pPr marL="107755">
              <a:lnSpc>
                <a:spcPct val="90000"/>
              </a:lnSpc>
              <a:spcAft>
                <a:spcPts val="600"/>
              </a:spcAft>
            </a:pPr>
            <a:r>
              <a:rPr kumimoji="1" lang="en-US" altLang="zh-TW" sz="1400">
                <a:ea typeface="微軟正黑體"/>
              </a:rPr>
              <a:t>Use </a:t>
            </a:r>
            <a:r>
              <a:rPr kumimoji="1" lang="en-US" altLang="zh-TW" sz="1400" b="1">
                <a:ea typeface="微軟正黑體"/>
              </a:rPr>
              <a:t>good pricing </a:t>
            </a:r>
            <a:r>
              <a:rPr kumimoji="1" lang="en-US" altLang="zh-TW" sz="1400">
                <a:ea typeface="微軟正黑體"/>
              </a:rPr>
              <a:t>to enhance customer retention then increase the company's competitiveness</a:t>
            </a:r>
            <a:endParaRPr lang="zh-TW" altLang="en-US" sz="1400">
              <a:ea typeface="微軟正黑體"/>
              <a:cs typeface="Arial" panose="020B0604020202020204"/>
            </a:endParaRPr>
          </a:p>
        </p:txBody>
      </p:sp>
      <p:sp>
        <p:nvSpPr>
          <p:cNvPr id="6" name="文字方塊 5">
            <a:extLst>
              <a:ext uri="{FF2B5EF4-FFF2-40B4-BE49-F238E27FC236}">
                <a16:creationId xmlns:a16="http://schemas.microsoft.com/office/drawing/2014/main" id="{B28D3C3A-466E-DA57-CC8B-50CA7404DC53}"/>
              </a:ext>
            </a:extLst>
          </p:cNvPr>
          <p:cNvSpPr txBox="1"/>
          <p:nvPr/>
        </p:nvSpPr>
        <p:spPr>
          <a:xfrm>
            <a:off x="3199162" y="559672"/>
            <a:ext cx="2029735" cy="249299"/>
          </a:xfrm>
          <a:prstGeom prst="rect">
            <a:avLst/>
          </a:prstGeom>
          <a:noFill/>
        </p:spPr>
        <p:txBody>
          <a:bodyPr wrap="square" lIns="0" tIns="0" rIns="0" bIns="0" rtlCol="0" anchor="t">
            <a:spAutoFit/>
          </a:bodyPr>
          <a:lstStyle/>
          <a:p>
            <a:pPr marL="71755">
              <a:lnSpc>
                <a:spcPct val="90000"/>
              </a:lnSpc>
              <a:spcAft>
                <a:spcPts val="600"/>
              </a:spcAft>
            </a:pPr>
            <a:r>
              <a:rPr kumimoji="1" lang="en-US" altLang="zh-TW" b="1">
                <a:solidFill>
                  <a:schemeClr val="tx2"/>
                </a:solidFill>
                <a:ea typeface="微軟正黑體"/>
              </a:rPr>
              <a:t>Pricing Strategy</a:t>
            </a:r>
            <a:endParaRPr lang="zh-TW" altLang="en-US" b="1">
              <a:solidFill>
                <a:schemeClr val="tx2"/>
              </a:solidFill>
              <a:ea typeface="微軟正黑體"/>
              <a:cs typeface="Arial" panose="020B0604020202020204"/>
            </a:endParaRPr>
          </a:p>
        </p:txBody>
      </p:sp>
      <p:grpSp>
        <p:nvGrpSpPr>
          <p:cNvPr id="77" name="群組 76">
            <a:extLst>
              <a:ext uri="{FF2B5EF4-FFF2-40B4-BE49-F238E27FC236}">
                <a16:creationId xmlns:a16="http://schemas.microsoft.com/office/drawing/2014/main" id="{745BF22A-CE3C-33AF-8A84-5AF8BB1853D0}"/>
              </a:ext>
            </a:extLst>
          </p:cNvPr>
          <p:cNvGrpSpPr/>
          <p:nvPr/>
        </p:nvGrpSpPr>
        <p:grpSpPr>
          <a:xfrm>
            <a:off x="3208018" y="1309272"/>
            <a:ext cx="2780777" cy="1460028"/>
            <a:chOff x="3057101" y="1407752"/>
            <a:chExt cx="2780777" cy="1460028"/>
          </a:xfrm>
        </p:grpSpPr>
        <p:sp>
          <p:nvSpPr>
            <p:cNvPr id="20" name="矩形 19">
              <a:extLst>
                <a:ext uri="{FF2B5EF4-FFF2-40B4-BE49-F238E27FC236}">
                  <a16:creationId xmlns:a16="http://schemas.microsoft.com/office/drawing/2014/main" id="{AB4937B0-C360-92B2-BB55-396A71C61812}"/>
                </a:ext>
              </a:extLst>
            </p:cNvPr>
            <p:cNvSpPr/>
            <p:nvPr/>
          </p:nvSpPr>
          <p:spPr>
            <a:xfrm>
              <a:off x="3189271" y="1621224"/>
              <a:ext cx="2648607" cy="1246556"/>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a:solidFill>
                  <a:schemeClr val="tx1"/>
                </a:solidFill>
              </a:endParaRPr>
            </a:p>
          </p:txBody>
        </p:sp>
        <p:sp>
          <p:nvSpPr>
            <p:cNvPr id="3" name="文字方塊 2">
              <a:extLst>
                <a:ext uri="{FF2B5EF4-FFF2-40B4-BE49-F238E27FC236}">
                  <a16:creationId xmlns:a16="http://schemas.microsoft.com/office/drawing/2014/main" id="{32AD9DFC-0285-81D1-2C15-57D0EFDAAA33}"/>
                </a:ext>
              </a:extLst>
            </p:cNvPr>
            <p:cNvSpPr txBox="1"/>
            <p:nvPr/>
          </p:nvSpPr>
          <p:spPr>
            <a:xfrm>
              <a:off x="3057101" y="1499423"/>
              <a:ext cx="2654654" cy="464743"/>
            </a:xfrm>
            <a:prstGeom prst="rect">
              <a:avLst/>
            </a:prstGeom>
            <a:solidFill>
              <a:srgbClr val="F5F5F5"/>
            </a:solidFill>
          </p:spPr>
          <p:txBody>
            <a:bodyPr wrap="square" lIns="0" tIns="0" rIns="0" bIns="0" rtlCol="0" anchor="t">
              <a:spAutoFit/>
            </a:bodyPr>
            <a:lstStyle/>
            <a:p>
              <a:pPr marL="71755">
                <a:lnSpc>
                  <a:spcPct val="90000"/>
                </a:lnSpc>
                <a:spcAft>
                  <a:spcPts val="600"/>
                </a:spcAft>
              </a:pPr>
              <a:r>
                <a:rPr kumimoji="1" lang="en-US" altLang="zh-TW" sz="1600" b="1">
                  <a:solidFill>
                    <a:schemeClr val="tx2"/>
                  </a:solidFill>
                  <a:ea typeface="微軟正黑體"/>
                </a:rPr>
                <a:t>         Compare price index </a:t>
              </a:r>
            </a:p>
            <a:p>
              <a:pPr marL="71755">
                <a:lnSpc>
                  <a:spcPct val="90000"/>
                </a:lnSpc>
                <a:spcAft>
                  <a:spcPts val="600"/>
                </a:spcAft>
              </a:pPr>
              <a:endParaRPr lang="zh-TW" altLang="en-US" sz="1200" b="1">
                <a:solidFill>
                  <a:schemeClr val="tx2"/>
                </a:solidFill>
                <a:ea typeface="微軟正黑體"/>
                <a:cs typeface="Arial" panose="020B0604020202020204"/>
              </a:endParaRPr>
            </a:p>
          </p:txBody>
        </p:sp>
        <p:pic>
          <p:nvPicPr>
            <p:cNvPr id="19" name="Graphic 35">
              <a:extLst>
                <a:ext uri="{FF2B5EF4-FFF2-40B4-BE49-F238E27FC236}">
                  <a16:creationId xmlns:a16="http://schemas.microsoft.com/office/drawing/2014/main" id="{9C860F81-D215-19A4-7262-582D2E9AF1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9140" y="1407752"/>
              <a:ext cx="468000" cy="468000"/>
            </a:xfrm>
            <a:prstGeom prst="rect">
              <a:avLst/>
            </a:prstGeom>
          </p:spPr>
        </p:pic>
        <p:sp>
          <p:nvSpPr>
            <p:cNvPr id="7" name="文字方塊 6">
              <a:extLst>
                <a:ext uri="{FF2B5EF4-FFF2-40B4-BE49-F238E27FC236}">
                  <a16:creationId xmlns:a16="http://schemas.microsoft.com/office/drawing/2014/main" id="{8E9A07B2-9E94-86BF-DFC7-216981F25CF7}"/>
                </a:ext>
              </a:extLst>
            </p:cNvPr>
            <p:cNvSpPr txBox="1"/>
            <p:nvPr/>
          </p:nvSpPr>
          <p:spPr>
            <a:xfrm>
              <a:off x="3451731" y="1945791"/>
              <a:ext cx="2260023" cy="775597"/>
            </a:xfrm>
            <a:prstGeom prst="rect">
              <a:avLst/>
            </a:prstGeom>
            <a:noFill/>
          </p:spPr>
          <p:txBody>
            <a:bodyPr wrap="square" lIns="0" tIns="0" rIns="0" bIns="0" rtlCol="0" anchor="t">
              <a:spAutoFit/>
            </a:bodyPr>
            <a:lstStyle/>
            <a:p>
              <a:pPr marL="71755">
                <a:lnSpc>
                  <a:spcPct val="90000"/>
                </a:lnSpc>
                <a:spcAft>
                  <a:spcPts val="600"/>
                </a:spcAft>
              </a:pPr>
              <a:r>
                <a:rPr kumimoji="1" lang="en-US" altLang="zh-TW" sz="1400" dirty="0">
                  <a:ea typeface="微軟正黑體"/>
                </a:rPr>
                <a:t>Compare Client’s price index with other competitors in different product categories</a:t>
              </a:r>
              <a:endParaRPr lang="zh-TW" altLang="en-US" sz="1400">
                <a:ea typeface="微軟正黑體"/>
                <a:cs typeface="Arial" panose="020B0604020202020204"/>
              </a:endParaRPr>
            </a:p>
          </p:txBody>
        </p:sp>
      </p:grpSp>
      <p:grpSp>
        <p:nvGrpSpPr>
          <p:cNvPr id="37" name="群組 36">
            <a:extLst>
              <a:ext uri="{FF2B5EF4-FFF2-40B4-BE49-F238E27FC236}">
                <a16:creationId xmlns:a16="http://schemas.microsoft.com/office/drawing/2014/main" id="{8225D3A3-ADED-C5A0-1F6C-21678234EE14}"/>
              </a:ext>
            </a:extLst>
          </p:cNvPr>
          <p:cNvGrpSpPr/>
          <p:nvPr/>
        </p:nvGrpSpPr>
        <p:grpSpPr>
          <a:xfrm>
            <a:off x="6218895" y="1317113"/>
            <a:ext cx="2780777" cy="1435827"/>
            <a:chOff x="9213456" y="1444573"/>
            <a:chExt cx="2780777" cy="1435827"/>
          </a:xfrm>
        </p:grpSpPr>
        <p:sp>
          <p:nvSpPr>
            <p:cNvPr id="31" name="矩形 30">
              <a:extLst>
                <a:ext uri="{FF2B5EF4-FFF2-40B4-BE49-F238E27FC236}">
                  <a16:creationId xmlns:a16="http://schemas.microsoft.com/office/drawing/2014/main" id="{901F46AB-BFA0-B601-DFE3-E4CADDD44C0D}"/>
                </a:ext>
              </a:extLst>
            </p:cNvPr>
            <p:cNvSpPr/>
            <p:nvPr/>
          </p:nvSpPr>
          <p:spPr>
            <a:xfrm>
              <a:off x="9345626" y="1638400"/>
              <a:ext cx="2648607" cy="12420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err="1">
                <a:solidFill>
                  <a:schemeClr val="tx1"/>
                </a:solidFill>
              </a:endParaRPr>
            </a:p>
          </p:txBody>
        </p:sp>
        <p:sp>
          <p:nvSpPr>
            <p:cNvPr id="32" name="文字方塊 31">
              <a:extLst>
                <a:ext uri="{FF2B5EF4-FFF2-40B4-BE49-F238E27FC236}">
                  <a16:creationId xmlns:a16="http://schemas.microsoft.com/office/drawing/2014/main" id="{926C0F99-29F8-240A-5496-18DC8341327F}"/>
                </a:ext>
              </a:extLst>
            </p:cNvPr>
            <p:cNvSpPr txBox="1"/>
            <p:nvPr/>
          </p:nvSpPr>
          <p:spPr>
            <a:xfrm>
              <a:off x="9213456" y="1485370"/>
              <a:ext cx="2231686" cy="464743"/>
            </a:xfrm>
            <a:prstGeom prst="rect">
              <a:avLst/>
            </a:prstGeom>
            <a:solidFill>
              <a:srgbClr val="F5F5F5"/>
            </a:solidFill>
          </p:spPr>
          <p:txBody>
            <a:bodyPr wrap="square" lIns="0" tIns="0" rIns="0" bIns="0" rtlCol="0" anchor="t">
              <a:spAutoFit/>
            </a:bodyPr>
            <a:lstStyle/>
            <a:p>
              <a:pPr marL="71755">
                <a:lnSpc>
                  <a:spcPct val="90000"/>
                </a:lnSpc>
                <a:spcAft>
                  <a:spcPts val="600"/>
                </a:spcAft>
              </a:pPr>
              <a:r>
                <a:rPr kumimoji="1" lang="en-US" altLang="zh-TW" sz="1600" b="1">
                  <a:solidFill>
                    <a:schemeClr val="tx2"/>
                  </a:solidFill>
                  <a:ea typeface="微軟正黑體"/>
                </a:rPr>
                <a:t>         Raise the price </a:t>
              </a:r>
            </a:p>
            <a:p>
              <a:pPr marL="71755">
                <a:lnSpc>
                  <a:spcPct val="90000"/>
                </a:lnSpc>
                <a:spcAft>
                  <a:spcPts val="600"/>
                </a:spcAft>
              </a:pPr>
              <a:endParaRPr lang="zh-TW" altLang="en-US" sz="1200" b="1">
                <a:solidFill>
                  <a:schemeClr val="tx2"/>
                </a:solidFill>
                <a:ea typeface="微軟正黑體"/>
                <a:cs typeface="Arial" panose="020B0604020202020204"/>
              </a:endParaRPr>
            </a:p>
          </p:txBody>
        </p:sp>
        <p:sp>
          <p:nvSpPr>
            <p:cNvPr id="33" name="文字方塊 32">
              <a:extLst>
                <a:ext uri="{FF2B5EF4-FFF2-40B4-BE49-F238E27FC236}">
                  <a16:creationId xmlns:a16="http://schemas.microsoft.com/office/drawing/2014/main" id="{D1C3F2ED-6D9A-39ED-87A8-DD992F75B616}"/>
                </a:ext>
              </a:extLst>
            </p:cNvPr>
            <p:cNvSpPr txBox="1"/>
            <p:nvPr/>
          </p:nvSpPr>
          <p:spPr>
            <a:xfrm>
              <a:off x="9608086" y="1962967"/>
              <a:ext cx="2260023" cy="581698"/>
            </a:xfrm>
            <a:prstGeom prst="rect">
              <a:avLst/>
            </a:prstGeom>
            <a:noFill/>
          </p:spPr>
          <p:txBody>
            <a:bodyPr wrap="square" lIns="0" tIns="0" rIns="0" bIns="0" rtlCol="0" anchor="t">
              <a:spAutoFit/>
            </a:bodyPr>
            <a:lstStyle/>
            <a:p>
              <a:pPr marL="71755">
                <a:lnSpc>
                  <a:spcPct val="90000"/>
                </a:lnSpc>
                <a:spcAft>
                  <a:spcPts val="600"/>
                </a:spcAft>
              </a:pPr>
              <a:r>
                <a:rPr kumimoji="1" lang="en-US" altLang="zh-TW" sz="1400">
                  <a:ea typeface="微軟正黑體"/>
                </a:rPr>
                <a:t>Increase the price of products with high reviews but low prices</a:t>
              </a:r>
              <a:endParaRPr lang="zh-TW" altLang="en-US" sz="1400">
                <a:ea typeface="微軟正黑體"/>
                <a:cs typeface="Arial" panose="020B0604020202020204"/>
              </a:endParaRPr>
            </a:p>
          </p:txBody>
        </p:sp>
        <p:sp>
          <p:nvSpPr>
            <p:cNvPr id="36" name="Freeform: Shape 88">
              <a:extLst>
                <a:ext uri="{FF2B5EF4-FFF2-40B4-BE49-F238E27FC236}">
                  <a16:creationId xmlns:a16="http://schemas.microsoft.com/office/drawing/2014/main" id="{C4105C03-D1E6-C1A2-581B-9D5503D36EF4}"/>
                </a:ext>
              </a:extLst>
            </p:cNvPr>
            <p:cNvSpPr>
              <a:spLocks noChangeAspect="1"/>
            </p:cNvSpPr>
            <p:nvPr/>
          </p:nvSpPr>
          <p:spPr>
            <a:xfrm>
              <a:off x="9255092" y="1444573"/>
              <a:ext cx="468000" cy="468000"/>
            </a:xfrm>
            <a:custGeom>
              <a:avLst/>
              <a:gdLst>
                <a:gd name="connsiteX0" fmla="*/ 388112 w 754888"/>
                <a:gd name="connsiteY0" fmla="*/ 413385 h 705326"/>
                <a:gd name="connsiteX1" fmla="*/ 388112 w 754888"/>
                <a:gd name="connsiteY1" fmla="*/ 454819 h 705326"/>
                <a:gd name="connsiteX2" fmla="*/ 388366 w 754888"/>
                <a:gd name="connsiteY2" fmla="*/ 454819 h 705326"/>
                <a:gd name="connsiteX3" fmla="*/ 405384 w 754888"/>
                <a:gd name="connsiteY3" fmla="*/ 446722 h 705326"/>
                <a:gd name="connsiteX4" fmla="*/ 410718 w 754888"/>
                <a:gd name="connsiteY4" fmla="*/ 434102 h 705326"/>
                <a:gd name="connsiteX5" fmla="*/ 406146 w 754888"/>
                <a:gd name="connsiteY5" fmla="*/ 422910 h 705326"/>
                <a:gd name="connsiteX6" fmla="*/ 388112 w 754888"/>
                <a:gd name="connsiteY6" fmla="*/ 413385 h 705326"/>
                <a:gd name="connsiteX7" fmla="*/ 368300 w 754888"/>
                <a:gd name="connsiteY7" fmla="*/ 327898 h 705326"/>
                <a:gd name="connsiteX8" fmla="*/ 356108 w 754888"/>
                <a:gd name="connsiteY8" fmla="*/ 334566 h 705326"/>
                <a:gd name="connsiteX9" fmla="*/ 352552 w 754888"/>
                <a:gd name="connsiteY9" fmla="*/ 344091 h 705326"/>
                <a:gd name="connsiteX10" fmla="*/ 356108 w 754888"/>
                <a:gd name="connsiteY10" fmla="*/ 354092 h 705326"/>
                <a:gd name="connsiteX11" fmla="*/ 368300 w 754888"/>
                <a:gd name="connsiteY11" fmla="*/ 361235 h 705326"/>
                <a:gd name="connsiteX12" fmla="*/ 368300 w 754888"/>
                <a:gd name="connsiteY12" fmla="*/ 282178 h 705326"/>
                <a:gd name="connsiteX13" fmla="*/ 388366 w 754888"/>
                <a:gd name="connsiteY13" fmla="*/ 282178 h 705326"/>
                <a:gd name="connsiteX14" fmla="*/ 388366 w 754888"/>
                <a:gd name="connsiteY14" fmla="*/ 294799 h 705326"/>
                <a:gd name="connsiteX15" fmla="*/ 435356 w 754888"/>
                <a:gd name="connsiteY15" fmla="*/ 308372 h 705326"/>
                <a:gd name="connsiteX16" fmla="*/ 456692 w 754888"/>
                <a:gd name="connsiteY16" fmla="*/ 340995 h 705326"/>
                <a:gd name="connsiteX17" fmla="*/ 405638 w 754888"/>
                <a:gd name="connsiteY17" fmla="*/ 348615 h 705326"/>
                <a:gd name="connsiteX18" fmla="*/ 398780 w 754888"/>
                <a:gd name="connsiteY18" fmla="*/ 335994 h 705326"/>
                <a:gd name="connsiteX19" fmla="*/ 388620 w 754888"/>
                <a:gd name="connsiteY19" fmla="*/ 328851 h 705326"/>
                <a:gd name="connsiteX20" fmla="*/ 388620 w 754888"/>
                <a:gd name="connsiteY20" fmla="*/ 365998 h 705326"/>
                <a:gd name="connsiteX21" fmla="*/ 444500 w 754888"/>
                <a:gd name="connsiteY21" fmla="*/ 388144 h 705326"/>
                <a:gd name="connsiteX22" fmla="*/ 463042 w 754888"/>
                <a:gd name="connsiteY22" fmla="*/ 427672 h 705326"/>
                <a:gd name="connsiteX23" fmla="*/ 456438 w 754888"/>
                <a:gd name="connsiteY23" fmla="*/ 453390 h 705326"/>
                <a:gd name="connsiteX24" fmla="*/ 439420 w 754888"/>
                <a:gd name="connsiteY24" fmla="*/ 472916 h 705326"/>
                <a:gd name="connsiteX25" fmla="*/ 417322 w 754888"/>
                <a:gd name="connsiteY25" fmla="*/ 484346 h 705326"/>
                <a:gd name="connsiteX26" fmla="*/ 388620 w 754888"/>
                <a:gd name="connsiteY26" fmla="*/ 488632 h 705326"/>
                <a:gd name="connsiteX27" fmla="*/ 388620 w 754888"/>
                <a:gd name="connsiteY27" fmla="*/ 512921 h 705326"/>
                <a:gd name="connsiteX28" fmla="*/ 368300 w 754888"/>
                <a:gd name="connsiteY28" fmla="*/ 512921 h 705326"/>
                <a:gd name="connsiteX29" fmla="*/ 368300 w 754888"/>
                <a:gd name="connsiteY29" fmla="*/ 488632 h 705326"/>
                <a:gd name="connsiteX30" fmla="*/ 335534 w 754888"/>
                <a:gd name="connsiteY30" fmla="*/ 482441 h 705326"/>
                <a:gd name="connsiteX31" fmla="*/ 313944 w 754888"/>
                <a:gd name="connsiteY31" fmla="*/ 470059 h 705326"/>
                <a:gd name="connsiteX32" fmla="*/ 299974 w 754888"/>
                <a:gd name="connsiteY32" fmla="*/ 453152 h 705326"/>
                <a:gd name="connsiteX33" fmla="*/ 292608 w 754888"/>
                <a:gd name="connsiteY33" fmla="*/ 431244 h 705326"/>
                <a:gd name="connsiteX34" fmla="*/ 348234 w 754888"/>
                <a:gd name="connsiteY34" fmla="*/ 425291 h 705326"/>
                <a:gd name="connsiteX35" fmla="*/ 354838 w 754888"/>
                <a:gd name="connsiteY35" fmla="*/ 443627 h 705326"/>
                <a:gd name="connsiteX36" fmla="*/ 368554 w 754888"/>
                <a:gd name="connsiteY36" fmla="*/ 453628 h 705326"/>
                <a:gd name="connsiteX37" fmla="*/ 368554 w 754888"/>
                <a:gd name="connsiteY37" fmla="*/ 408146 h 705326"/>
                <a:gd name="connsiteX38" fmla="*/ 329184 w 754888"/>
                <a:gd name="connsiteY38" fmla="*/ 395526 h 705326"/>
                <a:gd name="connsiteX39" fmla="*/ 309118 w 754888"/>
                <a:gd name="connsiteY39" fmla="*/ 378619 h 705326"/>
                <a:gd name="connsiteX40" fmla="*/ 300482 w 754888"/>
                <a:gd name="connsiteY40" fmla="*/ 350282 h 705326"/>
                <a:gd name="connsiteX41" fmla="*/ 317500 w 754888"/>
                <a:gd name="connsiteY41" fmla="*/ 311944 h 705326"/>
                <a:gd name="connsiteX42" fmla="*/ 368300 w 754888"/>
                <a:gd name="connsiteY42" fmla="*/ 294799 h 705326"/>
                <a:gd name="connsiteX43" fmla="*/ 377444 w 754888"/>
                <a:gd name="connsiteY43" fmla="*/ 58578 h 705326"/>
                <a:gd name="connsiteX44" fmla="*/ 125984 w 754888"/>
                <a:gd name="connsiteY44" fmla="*/ 263604 h 705326"/>
                <a:gd name="connsiteX45" fmla="*/ 235966 w 754888"/>
                <a:gd name="connsiteY45" fmla="*/ 263604 h 705326"/>
                <a:gd name="connsiteX46" fmla="*/ 235966 w 754888"/>
                <a:gd name="connsiteY46" fmla="*/ 661035 h 705326"/>
                <a:gd name="connsiteX47" fmla="*/ 518922 w 754888"/>
                <a:gd name="connsiteY47" fmla="*/ 661035 h 705326"/>
                <a:gd name="connsiteX48" fmla="*/ 518922 w 754888"/>
                <a:gd name="connsiteY48" fmla="*/ 263604 h 705326"/>
                <a:gd name="connsiteX49" fmla="*/ 628904 w 754888"/>
                <a:gd name="connsiteY49" fmla="*/ 263604 h 705326"/>
                <a:gd name="connsiteX50" fmla="*/ 377444 w 754888"/>
                <a:gd name="connsiteY50" fmla="*/ 0 h 705326"/>
                <a:gd name="connsiteX51" fmla="*/ 754888 w 754888"/>
                <a:gd name="connsiteY51" fmla="*/ 307895 h 705326"/>
                <a:gd name="connsiteX52" fmla="*/ 566166 w 754888"/>
                <a:gd name="connsiteY52" fmla="*/ 307895 h 705326"/>
                <a:gd name="connsiteX53" fmla="*/ 566166 w 754888"/>
                <a:gd name="connsiteY53" fmla="*/ 705326 h 705326"/>
                <a:gd name="connsiteX54" fmla="*/ 188722 w 754888"/>
                <a:gd name="connsiteY54" fmla="*/ 705326 h 705326"/>
                <a:gd name="connsiteX55" fmla="*/ 188722 w 754888"/>
                <a:gd name="connsiteY55" fmla="*/ 307895 h 705326"/>
                <a:gd name="connsiteX56" fmla="*/ 0 w 754888"/>
                <a:gd name="connsiteY56" fmla="*/ 307895 h 70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54888" h="705326">
                  <a:moveTo>
                    <a:pt x="388112" y="413385"/>
                  </a:moveTo>
                  <a:lnTo>
                    <a:pt x="388112" y="454819"/>
                  </a:lnTo>
                  <a:lnTo>
                    <a:pt x="388366" y="454819"/>
                  </a:lnTo>
                  <a:cubicBezTo>
                    <a:pt x="396240" y="453152"/>
                    <a:pt x="401828" y="450532"/>
                    <a:pt x="405384" y="446722"/>
                  </a:cubicBezTo>
                  <a:cubicBezTo>
                    <a:pt x="408940" y="442912"/>
                    <a:pt x="410718" y="438864"/>
                    <a:pt x="410718" y="434102"/>
                  </a:cubicBezTo>
                  <a:cubicBezTo>
                    <a:pt x="410718" y="430054"/>
                    <a:pt x="409194" y="426244"/>
                    <a:pt x="406146" y="422910"/>
                  </a:cubicBezTo>
                  <a:cubicBezTo>
                    <a:pt x="403098" y="419576"/>
                    <a:pt x="397002" y="416242"/>
                    <a:pt x="388112" y="413385"/>
                  </a:cubicBezTo>
                  <a:close/>
                  <a:moveTo>
                    <a:pt x="368300" y="327898"/>
                  </a:moveTo>
                  <a:cubicBezTo>
                    <a:pt x="362458" y="329803"/>
                    <a:pt x="358394" y="331946"/>
                    <a:pt x="356108" y="334566"/>
                  </a:cubicBezTo>
                  <a:cubicBezTo>
                    <a:pt x="353822" y="337185"/>
                    <a:pt x="352552" y="340281"/>
                    <a:pt x="352552" y="344091"/>
                  </a:cubicBezTo>
                  <a:cubicBezTo>
                    <a:pt x="352552" y="347901"/>
                    <a:pt x="353822" y="351234"/>
                    <a:pt x="356108" y="354092"/>
                  </a:cubicBezTo>
                  <a:cubicBezTo>
                    <a:pt x="358394" y="356949"/>
                    <a:pt x="362458" y="359330"/>
                    <a:pt x="368300" y="361235"/>
                  </a:cubicBezTo>
                  <a:close/>
                  <a:moveTo>
                    <a:pt x="368300" y="282178"/>
                  </a:moveTo>
                  <a:lnTo>
                    <a:pt x="388366" y="282178"/>
                  </a:lnTo>
                  <a:lnTo>
                    <a:pt x="388366" y="294799"/>
                  </a:lnTo>
                  <a:cubicBezTo>
                    <a:pt x="408940" y="295989"/>
                    <a:pt x="424688" y="300514"/>
                    <a:pt x="435356" y="308372"/>
                  </a:cubicBezTo>
                  <a:cubicBezTo>
                    <a:pt x="446278" y="316230"/>
                    <a:pt x="453390" y="327184"/>
                    <a:pt x="456692" y="340995"/>
                  </a:cubicBezTo>
                  <a:lnTo>
                    <a:pt x="405638" y="348615"/>
                  </a:lnTo>
                  <a:cubicBezTo>
                    <a:pt x="403098" y="342424"/>
                    <a:pt x="400812" y="338376"/>
                    <a:pt x="398780" y="335994"/>
                  </a:cubicBezTo>
                  <a:cubicBezTo>
                    <a:pt x="396748" y="333613"/>
                    <a:pt x="393192" y="331232"/>
                    <a:pt x="388620" y="328851"/>
                  </a:cubicBezTo>
                  <a:lnTo>
                    <a:pt x="388620" y="365998"/>
                  </a:lnTo>
                  <a:cubicBezTo>
                    <a:pt x="416560" y="372904"/>
                    <a:pt x="435102" y="380286"/>
                    <a:pt x="444500" y="388144"/>
                  </a:cubicBezTo>
                  <a:cubicBezTo>
                    <a:pt x="456946" y="398621"/>
                    <a:pt x="463042" y="411718"/>
                    <a:pt x="463042" y="427672"/>
                  </a:cubicBezTo>
                  <a:cubicBezTo>
                    <a:pt x="463042" y="436959"/>
                    <a:pt x="460756" y="445532"/>
                    <a:pt x="456438" y="453390"/>
                  </a:cubicBezTo>
                  <a:cubicBezTo>
                    <a:pt x="451866" y="461248"/>
                    <a:pt x="446278" y="467677"/>
                    <a:pt x="439420" y="472916"/>
                  </a:cubicBezTo>
                  <a:cubicBezTo>
                    <a:pt x="432562" y="478155"/>
                    <a:pt x="425196" y="481965"/>
                    <a:pt x="417322" y="484346"/>
                  </a:cubicBezTo>
                  <a:cubicBezTo>
                    <a:pt x="409448" y="486727"/>
                    <a:pt x="400050" y="488156"/>
                    <a:pt x="388620" y="488632"/>
                  </a:cubicBezTo>
                  <a:lnTo>
                    <a:pt x="388620" y="512921"/>
                  </a:lnTo>
                  <a:lnTo>
                    <a:pt x="368300" y="512921"/>
                  </a:lnTo>
                  <a:lnTo>
                    <a:pt x="368300" y="488632"/>
                  </a:lnTo>
                  <a:cubicBezTo>
                    <a:pt x="354838" y="487442"/>
                    <a:pt x="343916" y="485537"/>
                    <a:pt x="335534" y="482441"/>
                  </a:cubicBezTo>
                  <a:cubicBezTo>
                    <a:pt x="327152" y="479346"/>
                    <a:pt x="320040" y="475297"/>
                    <a:pt x="313944" y="470059"/>
                  </a:cubicBezTo>
                  <a:cubicBezTo>
                    <a:pt x="307848" y="464820"/>
                    <a:pt x="303276" y="459105"/>
                    <a:pt x="299974" y="453152"/>
                  </a:cubicBezTo>
                  <a:cubicBezTo>
                    <a:pt x="296672" y="447199"/>
                    <a:pt x="294132" y="439817"/>
                    <a:pt x="292608" y="431244"/>
                  </a:cubicBezTo>
                  <a:lnTo>
                    <a:pt x="348234" y="425291"/>
                  </a:lnTo>
                  <a:cubicBezTo>
                    <a:pt x="349758" y="433864"/>
                    <a:pt x="352044" y="440055"/>
                    <a:pt x="354838" y="443627"/>
                  </a:cubicBezTo>
                  <a:cubicBezTo>
                    <a:pt x="357632" y="447437"/>
                    <a:pt x="362204" y="450771"/>
                    <a:pt x="368554" y="453628"/>
                  </a:cubicBezTo>
                  <a:lnTo>
                    <a:pt x="368554" y="408146"/>
                  </a:lnTo>
                  <a:cubicBezTo>
                    <a:pt x="350012" y="403384"/>
                    <a:pt x="336804" y="399097"/>
                    <a:pt x="329184" y="395526"/>
                  </a:cubicBezTo>
                  <a:cubicBezTo>
                    <a:pt x="321564" y="391954"/>
                    <a:pt x="314706" y="386239"/>
                    <a:pt x="309118" y="378619"/>
                  </a:cubicBezTo>
                  <a:cubicBezTo>
                    <a:pt x="303530" y="370761"/>
                    <a:pt x="300482" y="361474"/>
                    <a:pt x="300482" y="350282"/>
                  </a:cubicBezTo>
                  <a:cubicBezTo>
                    <a:pt x="300482" y="335042"/>
                    <a:pt x="306070" y="322183"/>
                    <a:pt x="317500" y="311944"/>
                  </a:cubicBezTo>
                  <a:cubicBezTo>
                    <a:pt x="328930" y="301704"/>
                    <a:pt x="345948" y="295989"/>
                    <a:pt x="368300" y="294799"/>
                  </a:cubicBezTo>
                  <a:close/>
                  <a:moveTo>
                    <a:pt x="377444" y="58578"/>
                  </a:moveTo>
                  <a:lnTo>
                    <a:pt x="125984" y="263604"/>
                  </a:lnTo>
                  <a:lnTo>
                    <a:pt x="235966" y="263604"/>
                  </a:lnTo>
                  <a:lnTo>
                    <a:pt x="235966" y="661035"/>
                  </a:lnTo>
                  <a:lnTo>
                    <a:pt x="518922" y="661035"/>
                  </a:lnTo>
                  <a:lnTo>
                    <a:pt x="518922" y="263604"/>
                  </a:lnTo>
                  <a:lnTo>
                    <a:pt x="628904" y="263604"/>
                  </a:lnTo>
                  <a:close/>
                  <a:moveTo>
                    <a:pt x="377444" y="0"/>
                  </a:moveTo>
                  <a:lnTo>
                    <a:pt x="754888" y="307895"/>
                  </a:lnTo>
                  <a:lnTo>
                    <a:pt x="566166" y="307895"/>
                  </a:lnTo>
                  <a:lnTo>
                    <a:pt x="566166" y="705326"/>
                  </a:lnTo>
                  <a:lnTo>
                    <a:pt x="188722" y="705326"/>
                  </a:lnTo>
                  <a:lnTo>
                    <a:pt x="188722" y="307895"/>
                  </a:lnTo>
                  <a:lnTo>
                    <a:pt x="0" y="307895"/>
                  </a:lnTo>
                  <a:close/>
                </a:path>
              </a:pathLst>
            </a:custGeom>
            <a:solidFill>
              <a:srgbClr val="7823DC"/>
            </a:solidFill>
            <a:ln w="25400" cap="flat">
              <a:noFill/>
              <a:prstDash val="solid"/>
              <a:miter/>
            </a:ln>
          </p:spPr>
          <p:txBody>
            <a:bodyPr rtlCol="0" anchor="ctr"/>
            <a:lstStyle/>
            <a:p>
              <a:endParaRPr lang="en-US" sz="600"/>
            </a:p>
          </p:txBody>
        </p:sp>
      </p:grpSp>
      <p:grpSp>
        <p:nvGrpSpPr>
          <p:cNvPr id="83" name="群組 82">
            <a:extLst>
              <a:ext uri="{FF2B5EF4-FFF2-40B4-BE49-F238E27FC236}">
                <a16:creationId xmlns:a16="http://schemas.microsoft.com/office/drawing/2014/main" id="{4BFF6DA2-12B6-7F3D-EB43-E01353F673E0}"/>
              </a:ext>
            </a:extLst>
          </p:cNvPr>
          <p:cNvGrpSpPr/>
          <p:nvPr/>
        </p:nvGrpSpPr>
        <p:grpSpPr>
          <a:xfrm>
            <a:off x="3248105" y="3429000"/>
            <a:ext cx="2742875" cy="2152257"/>
            <a:chOff x="3175101" y="3387281"/>
            <a:chExt cx="2742875" cy="2152257"/>
          </a:xfrm>
        </p:grpSpPr>
        <p:sp>
          <p:nvSpPr>
            <p:cNvPr id="40" name="矩形 39">
              <a:extLst>
                <a:ext uri="{FF2B5EF4-FFF2-40B4-BE49-F238E27FC236}">
                  <a16:creationId xmlns:a16="http://schemas.microsoft.com/office/drawing/2014/main" id="{2BDD109D-D41B-2447-F423-13D3C4C4B9F4}"/>
                </a:ext>
              </a:extLst>
            </p:cNvPr>
            <p:cNvSpPr/>
            <p:nvPr/>
          </p:nvSpPr>
          <p:spPr>
            <a:xfrm>
              <a:off x="3329576" y="3617138"/>
              <a:ext cx="2588400" cy="19224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a:solidFill>
                  <a:schemeClr val="tx1"/>
                </a:solidFill>
              </a:endParaRPr>
            </a:p>
          </p:txBody>
        </p:sp>
        <p:sp>
          <p:nvSpPr>
            <p:cNvPr id="41" name="文字方塊 40">
              <a:extLst>
                <a:ext uri="{FF2B5EF4-FFF2-40B4-BE49-F238E27FC236}">
                  <a16:creationId xmlns:a16="http://schemas.microsoft.com/office/drawing/2014/main" id="{D241FBB8-4A40-CD69-C070-D64C99707C47}"/>
                </a:ext>
              </a:extLst>
            </p:cNvPr>
            <p:cNvSpPr txBox="1"/>
            <p:nvPr/>
          </p:nvSpPr>
          <p:spPr>
            <a:xfrm>
              <a:off x="3175101" y="3413030"/>
              <a:ext cx="2654654" cy="637097"/>
            </a:xfrm>
            <a:prstGeom prst="rect">
              <a:avLst/>
            </a:prstGeom>
            <a:solidFill>
              <a:srgbClr val="E6E6E6"/>
            </a:solidFill>
          </p:spPr>
          <p:txBody>
            <a:bodyPr wrap="square" lIns="0" tIns="0" rIns="0" bIns="0" rtlCol="0" anchor="t">
              <a:spAutoFit/>
            </a:bodyPr>
            <a:lstStyle/>
            <a:p>
              <a:pPr marL="71755">
                <a:lnSpc>
                  <a:spcPct val="90000"/>
                </a:lnSpc>
              </a:pPr>
              <a:r>
                <a:rPr kumimoji="1" lang="en-US" altLang="zh-TW" sz="1600" b="1">
                  <a:solidFill>
                    <a:schemeClr val="tx2"/>
                  </a:solidFill>
                  <a:ea typeface="微軟正黑體"/>
                </a:rPr>
                <a:t> </a:t>
              </a:r>
              <a:r>
                <a:rPr kumimoji="1" lang="zh-TW" altLang="en-US" sz="1600" b="1">
                  <a:solidFill>
                    <a:schemeClr val="tx2"/>
                  </a:solidFill>
                  <a:ea typeface="微軟正黑體"/>
                </a:rPr>
                <a:t>        </a:t>
              </a:r>
              <a:r>
                <a:rPr lang="en-US" altLang="zh-TW" sz="1600" b="1">
                  <a:solidFill>
                    <a:schemeClr val="tx2"/>
                  </a:solidFill>
                  <a:ea typeface="+mn-lt"/>
                  <a:cs typeface="+mn-lt"/>
                </a:rPr>
                <a:t>Understanding</a:t>
              </a:r>
            </a:p>
            <a:p>
              <a:pPr marL="71755">
                <a:lnSpc>
                  <a:spcPct val="90000"/>
                </a:lnSpc>
              </a:pPr>
              <a:r>
                <a:rPr lang="zh-TW" altLang="en-US" sz="1600" b="1">
                  <a:solidFill>
                    <a:schemeClr val="tx2"/>
                  </a:solidFill>
                  <a:ea typeface="+mn-lt"/>
                  <a:cs typeface="+mn-lt"/>
                </a:rPr>
                <a:t>         </a:t>
              </a:r>
              <a:r>
                <a:rPr lang="en-US" altLang="zh-TW" sz="1600" b="1">
                  <a:solidFill>
                    <a:schemeClr val="tx2"/>
                  </a:solidFill>
                  <a:ea typeface="+mn-lt"/>
                  <a:cs typeface="+mn-lt"/>
                </a:rPr>
                <a:t>Customer Feedback</a:t>
              </a:r>
            </a:p>
            <a:p>
              <a:pPr marL="71755">
                <a:lnSpc>
                  <a:spcPct val="90000"/>
                </a:lnSpc>
              </a:pPr>
              <a:endParaRPr kumimoji="1" lang="en-US" altLang="zh-TW" sz="1400" b="1">
                <a:solidFill>
                  <a:schemeClr val="tx2"/>
                </a:solidFill>
                <a:ea typeface="微軟正黑體"/>
              </a:endParaRPr>
            </a:p>
          </p:txBody>
        </p:sp>
        <p:sp>
          <p:nvSpPr>
            <p:cNvPr id="43" name="文字方塊 42">
              <a:extLst>
                <a:ext uri="{FF2B5EF4-FFF2-40B4-BE49-F238E27FC236}">
                  <a16:creationId xmlns:a16="http://schemas.microsoft.com/office/drawing/2014/main" id="{A8C3CF8C-1B4E-A55D-3791-14A39211A274}"/>
                </a:ext>
              </a:extLst>
            </p:cNvPr>
            <p:cNvSpPr txBox="1"/>
            <p:nvPr/>
          </p:nvSpPr>
          <p:spPr>
            <a:xfrm>
              <a:off x="3433096" y="4006538"/>
              <a:ext cx="2446970" cy="1240340"/>
            </a:xfrm>
            <a:prstGeom prst="rect">
              <a:avLst/>
            </a:prstGeom>
            <a:noFill/>
          </p:spPr>
          <p:txBody>
            <a:bodyPr wrap="square" lIns="0" tIns="0" rIns="0" bIns="0" rtlCol="0" anchor="t">
              <a:spAutoFit/>
            </a:bodyPr>
            <a:lstStyle/>
            <a:p>
              <a:pPr marL="285750" indent="-285750">
                <a:lnSpc>
                  <a:spcPct val="90000"/>
                </a:lnSpc>
                <a:spcAft>
                  <a:spcPts val="600"/>
                </a:spcAft>
                <a:buFont typeface="Arial" panose="020B0604020202020204" pitchFamily="34" charset="0"/>
                <a:buChar char="•"/>
              </a:pPr>
              <a:r>
                <a:rPr lang="en-US" sz="1400" dirty="0">
                  <a:latin typeface="Arial"/>
                  <a:cs typeface="Arial"/>
                </a:rPr>
                <a:t>​Identify lower rating categories, including different products</a:t>
              </a:r>
              <a:endParaRPr lang="en-US" sz="1400" dirty="0">
                <a:ea typeface="+mn-lt"/>
                <a:cs typeface="+mn-lt"/>
              </a:endParaRPr>
            </a:p>
            <a:p>
              <a:pPr marL="285750" indent="-285750">
                <a:lnSpc>
                  <a:spcPct val="90000"/>
                </a:lnSpc>
                <a:spcAft>
                  <a:spcPts val="600"/>
                </a:spcAft>
                <a:buFont typeface="Arial" panose="020B0604020202020204" pitchFamily="34" charset="0"/>
                <a:buChar char="•"/>
              </a:pPr>
              <a:r>
                <a:rPr lang="en-US" sz="1400" dirty="0">
                  <a:ea typeface="+mn-lt"/>
                  <a:cs typeface="+mn-lt"/>
                </a:rPr>
                <a:t>Hardware based issues are a leading complaint generator.</a:t>
              </a:r>
              <a:endParaRPr lang="en-US" sz="1400" dirty="0">
                <a:latin typeface="Arial"/>
                <a:ea typeface="+mn-lt"/>
                <a:cs typeface="+mn-lt"/>
              </a:endParaRPr>
            </a:p>
          </p:txBody>
        </p:sp>
        <p:pic>
          <p:nvPicPr>
            <p:cNvPr id="44" name="Graphic 259">
              <a:extLst>
                <a:ext uri="{FF2B5EF4-FFF2-40B4-BE49-F238E27FC236}">
                  <a16:creationId xmlns:a16="http://schemas.microsoft.com/office/drawing/2014/main" id="{88CEFF1F-32E1-C190-9D27-9051C966481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03354" y="3387281"/>
              <a:ext cx="467025" cy="468000"/>
            </a:xfrm>
            <a:prstGeom prst="rect">
              <a:avLst/>
            </a:prstGeom>
          </p:spPr>
        </p:pic>
      </p:grpSp>
      <p:sp>
        <p:nvSpPr>
          <p:cNvPr id="45" name="文字方塊 44">
            <a:extLst>
              <a:ext uri="{FF2B5EF4-FFF2-40B4-BE49-F238E27FC236}">
                <a16:creationId xmlns:a16="http://schemas.microsoft.com/office/drawing/2014/main" id="{AD89D121-7E75-9D3B-7284-B4CF863883FA}"/>
              </a:ext>
            </a:extLst>
          </p:cNvPr>
          <p:cNvSpPr txBox="1"/>
          <p:nvPr/>
        </p:nvSpPr>
        <p:spPr>
          <a:xfrm>
            <a:off x="3272770" y="6136198"/>
            <a:ext cx="8017217" cy="193899"/>
          </a:xfrm>
          <a:prstGeom prst="rect">
            <a:avLst/>
          </a:prstGeom>
          <a:noFill/>
        </p:spPr>
        <p:txBody>
          <a:bodyPr wrap="square" lIns="0" tIns="0" rIns="0" bIns="0" rtlCol="0" anchor="t">
            <a:spAutoFit/>
          </a:bodyPr>
          <a:lstStyle/>
          <a:p>
            <a:pPr marL="108000">
              <a:lnSpc>
                <a:spcPct val="90000"/>
              </a:lnSpc>
            </a:pPr>
            <a:r>
              <a:rPr lang="en-US" altLang="zh-TW" sz="1400">
                <a:ea typeface="+mn-lt"/>
                <a:cs typeface="+mn-lt"/>
              </a:rPr>
              <a:t>To</a:t>
            </a:r>
            <a:r>
              <a:rPr lang="en-US" altLang="zh-TW" sz="1400" b="1">
                <a:ea typeface="+mn-lt"/>
                <a:cs typeface="+mn-lt"/>
              </a:rPr>
              <a:t> increase product ratings</a:t>
            </a:r>
            <a:r>
              <a:rPr lang="en-US" altLang="zh-TW" sz="1400">
                <a:ea typeface="+mn-lt"/>
                <a:cs typeface="+mn-lt"/>
              </a:rPr>
              <a:t> on Amazon to drive sales without changing the pricing strategy</a:t>
            </a:r>
            <a:endParaRPr lang="en-US" altLang="zh-TW" sz="1400">
              <a:cs typeface="Arial"/>
            </a:endParaRPr>
          </a:p>
        </p:txBody>
      </p:sp>
      <p:sp>
        <p:nvSpPr>
          <p:cNvPr id="46" name="文字方塊 45">
            <a:extLst>
              <a:ext uri="{FF2B5EF4-FFF2-40B4-BE49-F238E27FC236}">
                <a16:creationId xmlns:a16="http://schemas.microsoft.com/office/drawing/2014/main" id="{D2707110-DF14-2668-8E72-D86850031983}"/>
              </a:ext>
            </a:extLst>
          </p:cNvPr>
          <p:cNvSpPr txBox="1"/>
          <p:nvPr/>
        </p:nvSpPr>
        <p:spPr>
          <a:xfrm>
            <a:off x="3272771" y="5822417"/>
            <a:ext cx="2029735" cy="249299"/>
          </a:xfrm>
          <a:prstGeom prst="rect">
            <a:avLst/>
          </a:prstGeom>
          <a:noFill/>
        </p:spPr>
        <p:txBody>
          <a:bodyPr wrap="square" lIns="0" tIns="0" rIns="0" bIns="0" rtlCol="0" anchor="t">
            <a:spAutoFit/>
          </a:bodyPr>
          <a:lstStyle/>
          <a:p>
            <a:pPr marL="71755">
              <a:lnSpc>
                <a:spcPct val="90000"/>
              </a:lnSpc>
              <a:spcAft>
                <a:spcPts val="600"/>
              </a:spcAft>
            </a:pPr>
            <a:r>
              <a:rPr kumimoji="1" lang="en-US" altLang="zh-TW" b="1">
                <a:solidFill>
                  <a:schemeClr val="tx2"/>
                </a:solidFill>
                <a:ea typeface="微軟正黑體"/>
              </a:rPr>
              <a:t>Rating Strategy</a:t>
            </a:r>
            <a:endParaRPr lang="zh-TW" altLang="en-US" b="1">
              <a:solidFill>
                <a:schemeClr val="tx2"/>
              </a:solidFill>
              <a:ea typeface="微軟正黑體"/>
              <a:cs typeface="Arial" panose="020B0604020202020204"/>
            </a:endParaRPr>
          </a:p>
        </p:txBody>
      </p:sp>
      <p:grpSp>
        <p:nvGrpSpPr>
          <p:cNvPr id="88" name="群組 87">
            <a:extLst>
              <a:ext uri="{FF2B5EF4-FFF2-40B4-BE49-F238E27FC236}">
                <a16:creationId xmlns:a16="http://schemas.microsoft.com/office/drawing/2014/main" id="{2F45766A-4419-4249-8A37-DAA311E7E22D}"/>
              </a:ext>
            </a:extLst>
          </p:cNvPr>
          <p:cNvGrpSpPr/>
          <p:nvPr/>
        </p:nvGrpSpPr>
        <p:grpSpPr>
          <a:xfrm>
            <a:off x="9233031" y="3400548"/>
            <a:ext cx="2780478" cy="2161436"/>
            <a:chOff x="9123326" y="3393592"/>
            <a:chExt cx="2780478" cy="2161436"/>
          </a:xfrm>
        </p:grpSpPr>
        <p:sp>
          <p:nvSpPr>
            <p:cNvPr id="52" name="矩形 51">
              <a:extLst>
                <a:ext uri="{FF2B5EF4-FFF2-40B4-BE49-F238E27FC236}">
                  <a16:creationId xmlns:a16="http://schemas.microsoft.com/office/drawing/2014/main" id="{80718B3F-F3B3-8ACC-B3C5-7E904C4E7C14}"/>
                </a:ext>
              </a:extLst>
            </p:cNvPr>
            <p:cNvSpPr/>
            <p:nvPr/>
          </p:nvSpPr>
          <p:spPr>
            <a:xfrm>
              <a:off x="9249251" y="3632628"/>
              <a:ext cx="2623537" cy="19224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a:solidFill>
                  <a:schemeClr val="tx1"/>
                </a:solidFill>
              </a:endParaRPr>
            </a:p>
          </p:txBody>
        </p:sp>
        <p:sp>
          <p:nvSpPr>
            <p:cNvPr id="53" name="文字方塊 52">
              <a:extLst>
                <a:ext uri="{FF2B5EF4-FFF2-40B4-BE49-F238E27FC236}">
                  <a16:creationId xmlns:a16="http://schemas.microsoft.com/office/drawing/2014/main" id="{D0E2A610-9F81-36EB-CE6A-B20383298F69}"/>
                </a:ext>
              </a:extLst>
            </p:cNvPr>
            <p:cNvSpPr txBox="1"/>
            <p:nvPr/>
          </p:nvSpPr>
          <p:spPr>
            <a:xfrm>
              <a:off x="9123326" y="3437258"/>
              <a:ext cx="2443960" cy="637097"/>
            </a:xfrm>
            <a:prstGeom prst="rect">
              <a:avLst/>
            </a:prstGeom>
            <a:solidFill>
              <a:srgbClr val="E6E6E6"/>
            </a:solidFill>
          </p:spPr>
          <p:txBody>
            <a:bodyPr wrap="square" lIns="0" tIns="0" rIns="0" bIns="0" rtlCol="0" anchor="t">
              <a:spAutoFit/>
            </a:bodyPr>
            <a:lstStyle/>
            <a:p>
              <a:pPr marL="71755">
                <a:lnSpc>
                  <a:spcPct val="90000"/>
                </a:lnSpc>
              </a:pPr>
              <a:r>
                <a:rPr kumimoji="1" lang="en-US" altLang="zh-TW" sz="1600" b="1">
                  <a:solidFill>
                    <a:schemeClr val="tx2"/>
                  </a:solidFill>
                  <a:ea typeface="微軟正黑體"/>
                  <a:cs typeface="+mn-lt"/>
                </a:rPr>
                <a:t>         </a:t>
              </a:r>
              <a:r>
                <a:rPr lang="en-US" altLang="zh-TW" sz="1600" b="1">
                  <a:solidFill>
                    <a:schemeClr val="tx2"/>
                  </a:solidFill>
                  <a:ea typeface="+mn-lt"/>
                  <a:cs typeface="+mn-lt"/>
                </a:rPr>
                <a:t>Encouraging </a:t>
              </a:r>
            </a:p>
            <a:p>
              <a:pPr marL="71755">
                <a:lnSpc>
                  <a:spcPct val="90000"/>
                </a:lnSpc>
              </a:pPr>
              <a:r>
                <a:rPr lang="en-US" altLang="zh-TW" sz="1600" b="1">
                  <a:solidFill>
                    <a:schemeClr val="tx2"/>
                  </a:solidFill>
                  <a:ea typeface="+mn-lt"/>
                  <a:cs typeface="+mn-lt"/>
                </a:rPr>
                <a:t>         Positive Reviews</a:t>
              </a:r>
            </a:p>
            <a:p>
              <a:pPr marL="71755">
                <a:lnSpc>
                  <a:spcPct val="90000"/>
                </a:lnSpc>
              </a:pPr>
              <a:endParaRPr kumimoji="1" lang="en-US" altLang="zh-TW" sz="1400" b="1">
                <a:solidFill>
                  <a:schemeClr val="tx2"/>
                </a:solidFill>
                <a:ea typeface="微軟正黑體"/>
              </a:endParaRPr>
            </a:p>
          </p:txBody>
        </p:sp>
        <p:sp>
          <p:nvSpPr>
            <p:cNvPr id="54" name="文字方塊 53">
              <a:extLst>
                <a:ext uri="{FF2B5EF4-FFF2-40B4-BE49-F238E27FC236}">
                  <a16:creationId xmlns:a16="http://schemas.microsoft.com/office/drawing/2014/main" id="{9085AA1B-7913-D297-5111-A8CA2F7F0BC2}"/>
                </a:ext>
              </a:extLst>
            </p:cNvPr>
            <p:cNvSpPr txBox="1"/>
            <p:nvPr/>
          </p:nvSpPr>
          <p:spPr>
            <a:xfrm>
              <a:off x="9381321" y="4030766"/>
              <a:ext cx="2522483" cy="1006429"/>
            </a:xfrm>
            <a:prstGeom prst="rect">
              <a:avLst/>
            </a:prstGeom>
            <a:noFill/>
          </p:spPr>
          <p:txBody>
            <a:bodyPr wrap="square" lIns="0" tIns="0" rIns="0" bIns="0" rtlCol="0" anchor="t">
              <a:spAutoFit/>
            </a:bodyPr>
            <a:lstStyle/>
            <a:p>
              <a:pPr marL="285750" indent="-285750">
                <a:lnSpc>
                  <a:spcPct val="90000"/>
                </a:lnSpc>
                <a:spcAft>
                  <a:spcPts val="600"/>
                </a:spcAft>
                <a:buFont typeface="Arial" panose="020B0604020202020204" pitchFamily="34" charset="0"/>
                <a:buChar char="•"/>
              </a:pPr>
              <a:r>
                <a:rPr lang="en-US" altLang="zh-TW" sz="1400">
                  <a:solidFill>
                    <a:schemeClr val="tx1"/>
                  </a:solidFill>
                  <a:cs typeface="Arial"/>
                </a:rPr>
                <a:t>Rewards Review Program</a:t>
              </a:r>
              <a:endParaRPr lang="en-US" altLang="zh-TW" sz="1400">
                <a:solidFill>
                  <a:schemeClr val="tx1"/>
                </a:solidFill>
                <a:ea typeface="+mn-lt"/>
                <a:cs typeface="+mn-lt"/>
              </a:endParaRPr>
            </a:p>
            <a:p>
              <a:pPr marL="285750" indent="-285750">
                <a:lnSpc>
                  <a:spcPct val="90000"/>
                </a:lnSpc>
                <a:spcAft>
                  <a:spcPts val="600"/>
                </a:spcAft>
                <a:buFont typeface="Arial" panose="020B0604020202020204" pitchFamily="34" charset="0"/>
                <a:buChar char="•"/>
              </a:pPr>
              <a:r>
                <a:rPr lang="en-US" altLang="zh-TW" sz="1400">
                  <a:solidFill>
                    <a:schemeClr val="tx1"/>
                  </a:solidFill>
                  <a:cs typeface="Arial"/>
                </a:rPr>
                <a:t>Build Campaign Website</a:t>
              </a:r>
              <a:endParaRPr lang="en-US" altLang="zh-TW" sz="1400">
                <a:solidFill>
                  <a:schemeClr val="tx1"/>
                </a:solidFill>
              </a:endParaRPr>
            </a:p>
            <a:p>
              <a:pPr marL="285750" indent="-285750">
                <a:lnSpc>
                  <a:spcPct val="90000"/>
                </a:lnSpc>
                <a:spcAft>
                  <a:spcPts val="600"/>
                </a:spcAft>
                <a:buFont typeface="Arial" panose="020B0604020202020204" pitchFamily="34" charset="0"/>
                <a:buChar char="•"/>
              </a:pPr>
              <a:r>
                <a:rPr lang="en-US" altLang="zh-TW" sz="1400">
                  <a:solidFill>
                    <a:schemeClr val="tx1"/>
                  </a:solidFill>
                  <a:cs typeface="Arial"/>
                </a:rPr>
                <a:t>Share Experience</a:t>
              </a:r>
            </a:p>
            <a:p>
              <a:pPr marL="285750" indent="-285750">
                <a:lnSpc>
                  <a:spcPct val="90000"/>
                </a:lnSpc>
                <a:spcAft>
                  <a:spcPts val="600"/>
                </a:spcAft>
                <a:buFont typeface="Arial" panose="020B0604020202020204" pitchFamily="34" charset="0"/>
                <a:buChar char="•"/>
              </a:pPr>
              <a:r>
                <a:rPr lang="en-US" altLang="zh-TW" sz="1400">
                  <a:solidFill>
                    <a:schemeClr val="tx1"/>
                  </a:solidFill>
                  <a:cs typeface="Arial"/>
                </a:rPr>
                <a:t>Get Rewarded</a:t>
              </a:r>
              <a:endParaRPr lang="en-US" altLang="zh-TW" sz="1400">
                <a:solidFill>
                  <a:schemeClr val="tx1"/>
                </a:solidFill>
              </a:endParaRPr>
            </a:p>
          </p:txBody>
        </p:sp>
        <p:pic>
          <p:nvPicPr>
            <p:cNvPr id="87" name="Graphic 47">
              <a:extLst>
                <a:ext uri="{FF2B5EF4-FFF2-40B4-BE49-F238E27FC236}">
                  <a16:creationId xmlns:a16="http://schemas.microsoft.com/office/drawing/2014/main" id="{B2B06313-CF88-3008-8286-ADE2299D51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73375" y="3393592"/>
              <a:ext cx="468000" cy="468000"/>
            </a:xfrm>
            <a:prstGeom prst="rect">
              <a:avLst/>
            </a:prstGeom>
          </p:spPr>
        </p:pic>
      </p:grpSp>
      <p:sp>
        <p:nvSpPr>
          <p:cNvPr id="92" name="向右箭號 91">
            <a:extLst>
              <a:ext uri="{FF2B5EF4-FFF2-40B4-BE49-F238E27FC236}">
                <a16:creationId xmlns:a16="http://schemas.microsoft.com/office/drawing/2014/main" id="{C70D61CE-B042-AEA1-FF0E-76DA1593565C}"/>
              </a:ext>
            </a:extLst>
          </p:cNvPr>
          <p:cNvSpPr/>
          <p:nvPr/>
        </p:nvSpPr>
        <p:spPr>
          <a:xfrm>
            <a:off x="5988795" y="2049517"/>
            <a:ext cx="359070" cy="27326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err="1">
              <a:solidFill>
                <a:schemeClr val="tx1"/>
              </a:solidFill>
            </a:endParaRPr>
          </a:p>
        </p:txBody>
      </p:sp>
      <p:sp>
        <p:nvSpPr>
          <p:cNvPr id="93" name="向右箭號 92">
            <a:extLst>
              <a:ext uri="{FF2B5EF4-FFF2-40B4-BE49-F238E27FC236}">
                <a16:creationId xmlns:a16="http://schemas.microsoft.com/office/drawing/2014/main" id="{E450F15E-E343-4CEA-FF2F-D47994DB92FC}"/>
              </a:ext>
            </a:extLst>
          </p:cNvPr>
          <p:cNvSpPr/>
          <p:nvPr/>
        </p:nvSpPr>
        <p:spPr>
          <a:xfrm>
            <a:off x="9002520" y="2004451"/>
            <a:ext cx="359070" cy="27326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err="1">
              <a:solidFill>
                <a:schemeClr val="tx1"/>
              </a:solidFill>
            </a:endParaRPr>
          </a:p>
        </p:txBody>
      </p:sp>
      <p:sp>
        <p:nvSpPr>
          <p:cNvPr id="94" name="向右箭號 93">
            <a:extLst>
              <a:ext uri="{FF2B5EF4-FFF2-40B4-BE49-F238E27FC236}">
                <a16:creationId xmlns:a16="http://schemas.microsoft.com/office/drawing/2014/main" id="{4404D132-488F-15A5-F835-83B600719C55}"/>
              </a:ext>
            </a:extLst>
          </p:cNvPr>
          <p:cNvSpPr/>
          <p:nvPr/>
        </p:nvSpPr>
        <p:spPr>
          <a:xfrm>
            <a:off x="5995234" y="4565013"/>
            <a:ext cx="359070" cy="27326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err="1">
              <a:solidFill>
                <a:schemeClr val="tx1"/>
              </a:solidFill>
            </a:endParaRPr>
          </a:p>
        </p:txBody>
      </p:sp>
      <p:sp>
        <p:nvSpPr>
          <p:cNvPr id="95" name="向右箭號 94">
            <a:extLst>
              <a:ext uri="{FF2B5EF4-FFF2-40B4-BE49-F238E27FC236}">
                <a16:creationId xmlns:a16="http://schemas.microsoft.com/office/drawing/2014/main" id="{2C09D7B8-9E6B-4C1D-CDF4-92496CFAE40B}"/>
              </a:ext>
            </a:extLst>
          </p:cNvPr>
          <p:cNvSpPr/>
          <p:nvPr/>
        </p:nvSpPr>
        <p:spPr>
          <a:xfrm>
            <a:off x="9000334" y="4558899"/>
            <a:ext cx="359070" cy="27326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err="1">
              <a:solidFill>
                <a:schemeClr val="tx1"/>
              </a:solidFill>
            </a:endParaRPr>
          </a:p>
        </p:txBody>
      </p:sp>
      <p:sp>
        <p:nvSpPr>
          <p:cNvPr id="96" name="向右箭號 95">
            <a:extLst>
              <a:ext uri="{FF2B5EF4-FFF2-40B4-BE49-F238E27FC236}">
                <a16:creationId xmlns:a16="http://schemas.microsoft.com/office/drawing/2014/main" id="{104D6487-69FE-4FA3-0782-00E1AD97BEEA}"/>
              </a:ext>
            </a:extLst>
          </p:cNvPr>
          <p:cNvSpPr/>
          <p:nvPr/>
        </p:nvSpPr>
        <p:spPr>
          <a:xfrm rot="5400000">
            <a:off x="4345941" y="2939401"/>
            <a:ext cx="637098" cy="27326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err="1">
              <a:solidFill>
                <a:schemeClr val="tx1"/>
              </a:solidFill>
            </a:endParaRPr>
          </a:p>
        </p:txBody>
      </p:sp>
      <p:grpSp>
        <p:nvGrpSpPr>
          <p:cNvPr id="5" name="群組 4">
            <a:extLst>
              <a:ext uri="{FF2B5EF4-FFF2-40B4-BE49-F238E27FC236}">
                <a16:creationId xmlns:a16="http://schemas.microsoft.com/office/drawing/2014/main" id="{E191691F-7D40-8A82-77F8-56A02EDB571F}"/>
              </a:ext>
            </a:extLst>
          </p:cNvPr>
          <p:cNvGrpSpPr/>
          <p:nvPr/>
        </p:nvGrpSpPr>
        <p:grpSpPr>
          <a:xfrm>
            <a:off x="9235489" y="1304717"/>
            <a:ext cx="2780777" cy="1456408"/>
            <a:chOff x="6342548" y="1424928"/>
            <a:chExt cx="2780777" cy="1456408"/>
          </a:xfrm>
        </p:grpSpPr>
        <p:sp>
          <p:nvSpPr>
            <p:cNvPr id="8" name="矩形 7">
              <a:extLst>
                <a:ext uri="{FF2B5EF4-FFF2-40B4-BE49-F238E27FC236}">
                  <a16:creationId xmlns:a16="http://schemas.microsoft.com/office/drawing/2014/main" id="{E3223059-B83A-EDEC-297C-38BEBD6DA7F8}"/>
                </a:ext>
              </a:extLst>
            </p:cNvPr>
            <p:cNvSpPr/>
            <p:nvPr/>
          </p:nvSpPr>
          <p:spPr>
            <a:xfrm>
              <a:off x="6474718" y="1639336"/>
              <a:ext cx="2648607" cy="12420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kumimoji="1" lang="zh-TW" altLang="en-US" sz="1400" err="1">
                <a:solidFill>
                  <a:schemeClr val="tx1"/>
                </a:solidFill>
              </a:endParaRPr>
            </a:p>
          </p:txBody>
        </p:sp>
        <p:sp>
          <p:nvSpPr>
            <p:cNvPr id="9" name="文字方塊 8">
              <a:extLst>
                <a:ext uri="{FF2B5EF4-FFF2-40B4-BE49-F238E27FC236}">
                  <a16:creationId xmlns:a16="http://schemas.microsoft.com/office/drawing/2014/main" id="{1C47094F-5F30-AF3D-B61D-4E7F2429BB12}"/>
                </a:ext>
              </a:extLst>
            </p:cNvPr>
            <p:cNvSpPr txBox="1"/>
            <p:nvPr/>
          </p:nvSpPr>
          <p:spPr>
            <a:xfrm>
              <a:off x="6342548" y="1517535"/>
              <a:ext cx="2337866" cy="464743"/>
            </a:xfrm>
            <a:prstGeom prst="rect">
              <a:avLst/>
            </a:prstGeom>
            <a:solidFill>
              <a:srgbClr val="F5F5F5"/>
            </a:solidFill>
          </p:spPr>
          <p:txBody>
            <a:bodyPr wrap="square" lIns="0" tIns="0" rIns="0" bIns="0" rtlCol="0" anchor="t">
              <a:spAutoFit/>
            </a:bodyPr>
            <a:lstStyle/>
            <a:p>
              <a:pPr marL="71755">
                <a:lnSpc>
                  <a:spcPct val="90000"/>
                </a:lnSpc>
                <a:spcAft>
                  <a:spcPts val="600"/>
                </a:spcAft>
              </a:pPr>
              <a:r>
                <a:rPr kumimoji="1" lang="en-US" altLang="zh-TW" sz="1600" b="1">
                  <a:solidFill>
                    <a:schemeClr val="tx2"/>
                  </a:solidFill>
                  <a:ea typeface="微軟正黑體"/>
                </a:rPr>
                <a:t>         Reduce the price </a:t>
              </a:r>
            </a:p>
            <a:p>
              <a:pPr marL="71755">
                <a:lnSpc>
                  <a:spcPct val="90000"/>
                </a:lnSpc>
                <a:spcAft>
                  <a:spcPts val="600"/>
                </a:spcAft>
              </a:pPr>
              <a:endParaRPr lang="zh-TW" altLang="en-US" sz="1200" b="1">
                <a:solidFill>
                  <a:schemeClr val="tx2"/>
                </a:solidFill>
                <a:ea typeface="微軟正黑體"/>
                <a:cs typeface="Arial" panose="020B0604020202020204"/>
              </a:endParaRPr>
            </a:p>
          </p:txBody>
        </p:sp>
        <p:sp>
          <p:nvSpPr>
            <p:cNvPr id="11" name="文字方塊 10">
              <a:extLst>
                <a:ext uri="{FF2B5EF4-FFF2-40B4-BE49-F238E27FC236}">
                  <a16:creationId xmlns:a16="http://schemas.microsoft.com/office/drawing/2014/main" id="{ACC7150A-FAFC-8E11-0B43-9D6F11C96BA5}"/>
                </a:ext>
              </a:extLst>
            </p:cNvPr>
            <p:cNvSpPr txBox="1"/>
            <p:nvPr/>
          </p:nvSpPr>
          <p:spPr>
            <a:xfrm>
              <a:off x="6737178" y="1963903"/>
              <a:ext cx="2260023" cy="581698"/>
            </a:xfrm>
            <a:prstGeom prst="rect">
              <a:avLst/>
            </a:prstGeom>
            <a:noFill/>
          </p:spPr>
          <p:txBody>
            <a:bodyPr wrap="square" lIns="0" tIns="0" rIns="0" bIns="0" rtlCol="0" anchor="t">
              <a:spAutoFit/>
            </a:bodyPr>
            <a:lstStyle/>
            <a:p>
              <a:pPr marL="71755">
                <a:lnSpc>
                  <a:spcPct val="90000"/>
                </a:lnSpc>
                <a:spcAft>
                  <a:spcPts val="600"/>
                </a:spcAft>
              </a:pPr>
              <a:r>
                <a:rPr kumimoji="1" lang="en-US" altLang="zh-TW" sz="1400">
                  <a:ea typeface="微軟正黑體"/>
                </a:rPr>
                <a:t>Reconsider the price of products with the highest price index but poor ratings</a:t>
              </a:r>
              <a:endParaRPr lang="zh-TW" altLang="en-US" sz="1400">
                <a:ea typeface="微軟正黑體"/>
                <a:cs typeface="Arial" panose="020B0604020202020204"/>
              </a:endParaRPr>
            </a:p>
          </p:txBody>
        </p:sp>
        <p:pic>
          <p:nvPicPr>
            <p:cNvPr id="12" name="Graphic 92">
              <a:extLst>
                <a:ext uri="{FF2B5EF4-FFF2-40B4-BE49-F238E27FC236}">
                  <a16:creationId xmlns:a16="http://schemas.microsoft.com/office/drawing/2014/main" id="{A50254B5-BA01-8087-47FD-982434DC448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84587" y="1424928"/>
              <a:ext cx="468000" cy="468000"/>
            </a:xfrm>
            <a:prstGeom prst="rect">
              <a:avLst/>
            </a:prstGeom>
          </p:spPr>
        </p:pic>
      </p:grpSp>
      <p:sp>
        <p:nvSpPr>
          <p:cNvPr id="13" name="TextBox 12">
            <a:hlinkClick r:id="rId12" action="ppaction://hlinksldjump"/>
            <a:extLst>
              <a:ext uri="{FF2B5EF4-FFF2-40B4-BE49-F238E27FC236}">
                <a16:creationId xmlns:a16="http://schemas.microsoft.com/office/drawing/2014/main" id="{CD5244E4-A86F-9243-F9BC-716CAE6CCF76}"/>
              </a:ext>
            </a:extLst>
          </p:cNvPr>
          <p:cNvSpPr txBox="1"/>
          <p:nvPr/>
        </p:nvSpPr>
        <p:spPr>
          <a:xfrm>
            <a:off x="380228" y="3029951"/>
            <a:ext cx="1453924" cy="193899"/>
          </a:xfrm>
          <a:prstGeom prst="rect">
            <a:avLst/>
          </a:prstGeom>
          <a:noFill/>
        </p:spPr>
        <p:txBody>
          <a:bodyPr wrap="none" lIns="0" tIns="0" rIns="0" bIns="0" rtlCol="0">
            <a:spAutoFit/>
          </a:bodyPr>
          <a:lstStyle/>
          <a:p>
            <a:pPr algn="l">
              <a:lnSpc>
                <a:spcPct val="90000"/>
              </a:lnSpc>
            </a:pPr>
            <a:r>
              <a:rPr lang="en-US" sz="1400">
                <a:solidFill>
                  <a:schemeClr val="accent3"/>
                </a:solidFill>
                <a:hlinkClick r:id="rId13" action="ppaction://hlinksldjump">
                  <a:extLst>
                    <a:ext uri="{A12FA001-AC4F-418D-AE19-62706E023703}">
                      <ahyp:hlinkClr xmlns:ahyp="http://schemas.microsoft.com/office/drawing/2018/hyperlinkcolor" val="tx"/>
                    </a:ext>
                  </a:extLst>
                </a:hlinkClick>
              </a:rPr>
              <a:t>Back to main slide</a:t>
            </a:r>
            <a:endParaRPr lang="en-US" sz="1400">
              <a:solidFill>
                <a:schemeClr val="accent3"/>
              </a:solidFill>
            </a:endParaRPr>
          </a:p>
        </p:txBody>
      </p:sp>
    </p:spTree>
    <p:extLst>
      <p:ext uri="{BB962C8B-B14F-4D97-AF65-F5344CB8AC3E}">
        <p14:creationId xmlns:p14="http://schemas.microsoft.com/office/powerpoint/2010/main" val="12606910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81F55F1-2850-2663-599C-1CF6818CE9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think-cell data - do not delete" hidden="1">
                        <a:extLst>
                          <a:ext uri="{FF2B5EF4-FFF2-40B4-BE49-F238E27FC236}">
                            <a16:creationId xmlns:a16="http://schemas.microsoft.com/office/drawing/2014/main" id="{E81F55F1-2850-2663-599C-1CF6818CE9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1B69D-AB42-2EF9-967F-94474520A365}"/>
              </a:ext>
            </a:extLst>
          </p:cNvPr>
          <p:cNvSpPr>
            <a:spLocks noGrp="1"/>
          </p:cNvSpPr>
          <p:nvPr>
            <p:ph type="title"/>
          </p:nvPr>
        </p:nvSpPr>
        <p:spPr/>
        <p:txBody>
          <a:bodyPr vert="horz"/>
          <a:lstStyle/>
          <a:p>
            <a:r>
              <a:rPr lang="en-US" dirty="0"/>
              <a:t>Appendix 5</a:t>
            </a:r>
            <a:br>
              <a:rPr lang="en-US" dirty="0"/>
            </a:br>
            <a:r>
              <a:rPr lang="en-US" dirty="0">
                <a:solidFill>
                  <a:schemeClr val="accent6"/>
                </a:solidFill>
              </a:rPr>
              <a:t>Key risks to consider</a:t>
            </a:r>
          </a:p>
        </p:txBody>
      </p:sp>
      <p:graphicFrame>
        <p:nvGraphicFramePr>
          <p:cNvPr id="5" name="Table 4">
            <a:extLst>
              <a:ext uri="{FF2B5EF4-FFF2-40B4-BE49-F238E27FC236}">
                <a16:creationId xmlns:a16="http://schemas.microsoft.com/office/drawing/2014/main" id="{0A476705-5ABA-5466-BF1D-0E166EF49807}"/>
              </a:ext>
            </a:extLst>
          </p:cNvPr>
          <p:cNvGraphicFramePr>
            <a:graphicFrameLocks noGrp="1"/>
          </p:cNvGraphicFramePr>
          <p:nvPr/>
        </p:nvGraphicFramePr>
        <p:xfrm>
          <a:off x="3429000" y="381000"/>
          <a:ext cx="8229601" cy="5943601"/>
        </p:xfrm>
        <a:graphic>
          <a:graphicData uri="http://schemas.openxmlformats.org/drawingml/2006/table">
            <a:tbl>
              <a:tblPr>
                <a:tableStyleId>{5C22544A-7EE6-4342-B048-85BDC9FD1C3A}</a:tableStyleId>
              </a:tblPr>
              <a:tblGrid>
                <a:gridCol w="1388804">
                  <a:extLst>
                    <a:ext uri="{9D8B030D-6E8A-4147-A177-3AD203B41FA5}">
                      <a16:colId xmlns:a16="http://schemas.microsoft.com/office/drawing/2014/main" val="177518921"/>
                    </a:ext>
                  </a:extLst>
                </a:gridCol>
                <a:gridCol w="3487996">
                  <a:extLst>
                    <a:ext uri="{9D8B030D-6E8A-4147-A177-3AD203B41FA5}">
                      <a16:colId xmlns:a16="http://schemas.microsoft.com/office/drawing/2014/main" val="1555274923"/>
                    </a:ext>
                  </a:extLst>
                </a:gridCol>
                <a:gridCol w="3352801">
                  <a:extLst>
                    <a:ext uri="{9D8B030D-6E8A-4147-A177-3AD203B41FA5}">
                      <a16:colId xmlns:a16="http://schemas.microsoft.com/office/drawing/2014/main" val="512081"/>
                    </a:ext>
                  </a:extLst>
                </a:gridCol>
              </a:tblGrid>
              <a:tr h="479959">
                <a:tc>
                  <a:txBody>
                    <a:bodyPr/>
                    <a:lstStyle/>
                    <a:p>
                      <a:pPr algn="ctr">
                        <a:lnSpc>
                          <a:spcPct val="90000"/>
                        </a:lnSpc>
                      </a:pPr>
                      <a:r>
                        <a:rPr lang="en-US" sz="1200" b="1" spc="0">
                          <a:solidFill>
                            <a:schemeClr val="tx1"/>
                          </a:solidFill>
                          <a:latin typeface="Arial" panose="020B0604020202020204" pitchFamily="34" charset="0"/>
                        </a:rPr>
                        <a:t>Category </a:t>
                      </a:r>
                    </a:p>
                  </a:txBody>
                  <a:tcPr marL="35941" marR="35941"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mpd="sng">
                      <a:solidFill>
                        <a:schemeClr val="bg1"/>
                      </a:solidFill>
                    </a:lnT>
                    <a:lnB w="28575" cap="flat" cmpd="sng" algn="ctr">
                      <a:solidFill>
                        <a:schemeClr val="tx2"/>
                      </a:solidFill>
                      <a:prstDash val="solid"/>
                      <a:round/>
                      <a:headEnd type="none" w="med" len="med"/>
                      <a:tailEnd type="none" w="med" len="med"/>
                    </a:lnB>
                    <a:noFill/>
                  </a:tcPr>
                </a:tc>
                <a:tc>
                  <a:txBody>
                    <a:bodyPr/>
                    <a:lstStyle/>
                    <a:p>
                      <a:pPr algn="ctr">
                        <a:lnSpc>
                          <a:spcPct val="90000"/>
                        </a:lnSpc>
                      </a:pPr>
                      <a:r>
                        <a:rPr lang="en-US" sz="1200" b="1" spc="0">
                          <a:solidFill>
                            <a:schemeClr val="tx1"/>
                          </a:solidFill>
                          <a:latin typeface="Arial" panose="020B0604020202020204" pitchFamily="34" charset="0"/>
                        </a:rPr>
                        <a:t>Risk</a:t>
                      </a:r>
                    </a:p>
                  </a:txBody>
                  <a:tcPr marL="35941" marR="35941"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mpd="sng">
                      <a:solidFill>
                        <a:schemeClr val="bg1"/>
                      </a:solidFill>
                    </a:lnT>
                    <a:lnB w="28575" cap="flat" cmpd="sng" algn="ctr">
                      <a:solidFill>
                        <a:schemeClr val="tx2"/>
                      </a:solidFill>
                      <a:prstDash val="solid"/>
                      <a:round/>
                      <a:headEnd type="none" w="med" len="med"/>
                      <a:tailEnd type="none" w="med" len="med"/>
                    </a:lnB>
                    <a:noFill/>
                  </a:tcPr>
                </a:tc>
                <a:tc>
                  <a:txBody>
                    <a:bodyPr/>
                    <a:lstStyle/>
                    <a:p>
                      <a:pPr algn="ctr">
                        <a:lnSpc>
                          <a:spcPct val="90000"/>
                        </a:lnSpc>
                      </a:pPr>
                      <a:r>
                        <a:rPr lang="en-US" sz="1200" b="1" spc="0" dirty="0">
                          <a:solidFill>
                            <a:schemeClr val="tx1"/>
                          </a:solidFill>
                          <a:latin typeface="Arial" panose="020B0604020202020204" pitchFamily="34" charset="0"/>
                        </a:rPr>
                        <a:t>Mitigation Action</a:t>
                      </a:r>
                    </a:p>
                  </a:txBody>
                  <a:tcPr marL="35941" marR="35941"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mpd="sng">
                      <a:solidFill>
                        <a:schemeClr val="bg1"/>
                      </a:solidFill>
                    </a:lnT>
                    <a:lnB w="285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48047428"/>
                  </a:ext>
                </a:extLst>
              </a:tr>
              <a:tr h="909138">
                <a:tc>
                  <a:txBody>
                    <a:bodyPr/>
                    <a:lstStyle/>
                    <a:p>
                      <a:pPr marL="0" indent="0" algn="l" defTabSz="914400" rtl="0" eaLnBrk="1" latinLnBrk="0" hangingPunct="1">
                        <a:lnSpc>
                          <a:spcPct val="90000"/>
                        </a:lnSpc>
                        <a:buClr>
                          <a:schemeClr val="tx1"/>
                        </a:buClr>
                        <a:buSzPct val="100000"/>
                        <a:buFont typeface="Arial" panose="020B0604020202020204" pitchFamily="34" charset="0"/>
                        <a:buNone/>
                      </a:pPr>
                      <a:r>
                        <a:rPr lang="en-US" sz="1100" b="1" i="0" spc="0" dirty="0">
                          <a:solidFill>
                            <a:schemeClr val="tx1"/>
                          </a:solidFill>
                          <a:latin typeface="+mj-lt"/>
                        </a:rPr>
                        <a:t>New Player Risk</a:t>
                      </a:r>
                    </a:p>
                  </a:txBody>
                  <a:tcPr anchor="ctr">
                    <a:lnL w="0" cap="flat" cmpd="sng" algn="ctr">
                      <a:no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Emerging competitors may disrupt market share or pricing</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D2D2"/>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a:solidFill>
                            <a:srgbClr val="1E1E1E"/>
                          </a:solidFill>
                          <a:effectLst/>
                          <a:latin typeface="+mj-lt"/>
                        </a:rPr>
                        <a:t>Conduct regular market scans; develop differentiated offerings; strengthen customer loyalty program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extLst>
                  <a:ext uri="{0D108BD9-81ED-4DB2-BD59-A6C34878D82A}">
                    <a16:rowId xmlns:a16="http://schemas.microsoft.com/office/drawing/2014/main" val="1497710297"/>
                  </a:ext>
                </a:extLst>
              </a:tr>
              <a:tr h="913545">
                <a:tc>
                  <a:txBody>
                    <a:bodyPr/>
                    <a:lstStyle/>
                    <a:p>
                      <a:pPr marL="0" indent="0" algn="l" defTabSz="914400" rtl="0" eaLnBrk="1" latinLnBrk="0" hangingPunct="1">
                        <a:lnSpc>
                          <a:spcPct val="90000"/>
                        </a:lnSpc>
                        <a:buClr>
                          <a:schemeClr val="tx1"/>
                        </a:buClr>
                        <a:buSzPct val="100000"/>
                        <a:buFont typeface="Arial" panose="020B0604020202020204" pitchFamily="34" charset="0"/>
                        <a:buNone/>
                      </a:pPr>
                      <a:r>
                        <a:rPr lang="en-US" sz="1100" b="1" i="0" spc="0">
                          <a:solidFill>
                            <a:schemeClr val="tx1"/>
                          </a:solidFill>
                          <a:latin typeface="+mj-lt"/>
                        </a:rPr>
                        <a:t>Price Volatility</a:t>
                      </a:r>
                    </a:p>
                  </a:txBody>
                  <a:tcPr anchor="ctr">
                    <a:lnL w="12700" cmpd="sng">
                      <a:noFill/>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Fluctuations in input costs or market prices can impact margin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D2D2"/>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a:solidFill>
                            <a:srgbClr val="1E1E1E"/>
                          </a:solidFill>
                          <a:effectLst/>
                          <a:latin typeface="+mj-lt"/>
                        </a:rPr>
                        <a:t>Implement long-term supplier contracts; use financial hedging; adjust pricing strategies dynamically</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extLst>
                  <a:ext uri="{0D108BD9-81ED-4DB2-BD59-A6C34878D82A}">
                    <a16:rowId xmlns:a16="http://schemas.microsoft.com/office/drawing/2014/main" val="3360757535"/>
                  </a:ext>
                </a:extLst>
              </a:tr>
              <a:tr h="909138">
                <a:tc>
                  <a:txBody>
                    <a:bodyPr/>
                    <a:lstStyle/>
                    <a:p>
                      <a:pPr marL="0" indent="0" algn="l" defTabSz="914400" rtl="0" eaLnBrk="1" latinLnBrk="0" hangingPunct="1">
                        <a:lnSpc>
                          <a:spcPct val="90000"/>
                        </a:lnSpc>
                        <a:buClr>
                          <a:schemeClr val="tx1"/>
                        </a:buClr>
                        <a:buSzPct val="100000"/>
                        <a:buFont typeface="Arial" panose="020B0604020202020204" pitchFamily="34" charset="0"/>
                        <a:buNone/>
                      </a:pPr>
                      <a:r>
                        <a:rPr lang="en-US" sz="1100" b="1" i="0" spc="0">
                          <a:solidFill>
                            <a:schemeClr val="tx1"/>
                          </a:solidFill>
                          <a:latin typeface="+mj-lt"/>
                        </a:rPr>
                        <a:t>Geopolitical Risk</a:t>
                      </a:r>
                    </a:p>
                  </a:txBody>
                  <a:tcPr anchor="ctr">
                    <a:lnL w="12700" cmpd="sng">
                      <a:noFill/>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Political instability or regulatory changes in key region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mpd="sng">
                      <a:solidFill>
                        <a:schemeClr val="bg1"/>
                      </a:solidFill>
                    </a:lnB>
                    <a:solidFill>
                      <a:srgbClr val="D2D2D2"/>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Diversify supply base; establish contingency plans; monitor geopolitical development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mpd="sng">
                      <a:solidFill>
                        <a:schemeClr val="bg1"/>
                      </a:solidFill>
                    </a:lnB>
                    <a:solidFill>
                      <a:srgbClr val="E1E1E1"/>
                    </a:solidFill>
                  </a:tcPr>
                </a:tc>
                <a:extLst>
                  <a:ext uri="{0D108BD9-81ED-4DB2-BD59-A6C34878D82A}">
                    <a16:rowId xmlns:a16="http://schemas.microsoft.com/office/drawing/2014/main" val="3381066025"/>
                  </a:ext>
                </a:extLst>
              </a:tr>
              <a:tr h="913545">
                <a:tc>
                  <a:txBody>
                    <a:bodyPr/>
                    <a:lstStyle/>
                    <a:p>
                      <a:pPr marL="0" indent="0" algn="l" defTabSz="914400" rtl="0" eaLnBrk="1" latinLnBrk="0" hangingPunct="1">
                        <a:lnSpc>
                          <a:spcPct val="90000"/>
                        </a:lnSpc>
                        <a:buClr>
                          <a:schemeClr val="tx1"/>
                        </a:buClr>
                        <a:buSzPct val="100000"/>
                        <a:buFont typeface="Arial" panose="020B0604020202020204" pitchFamily="34" charset="0"/>
                        <a:buNone/>
                      </a:pPr>
                      <a:r>
                        <a:rPr lang="en-US" sz="1100" b="1" i="0" spc="0" dirty="0">
                          <a:solidFill>
                            <a:schemeClr val="tx1"/>
                          </a:solidFill>
                          <a:latin typeface="+mj-lt"/>
                        </a:rPr>
                        <a:t>US Tariff Change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Increased costs due to changes in import/export tariff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D2D2"/>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Explore alternate sourcing regions; re-negotiate supply agreements; adjust cost pass-through mechanism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extLst>
                  <a:ext uri="{0D108BD9-81ED-4DB2-BD59-A6C34878D82A}">
                    <a16:rowId xmlns:a16="http://schemas.microsoft.com/office/drawing/2014/main" val="2987168510"/>
                  </a:ext>
                </a:extLst>
              </a:tr>
              <a:tr h="909138">
                <a:tc>
                  <a:txBody>
                    <a:bodyPr/>
                    <a:lstStyle/>
                    <a:p>
                      <a:pPr marL="0" indent="0" algn="l" defTabSz="914400" rtl="0" eaLnBrk="1" fontAlgn="ctr" latinLnBrk="0" hangingPunct="1">
                        <a:buClr>
                          <a:schemeClr val="tx1"/>
                        </a:buClr>
                        <a:buSzPct val="100000"/>
                        <a:buFont typeface="Arial" panose="020B0604020202020204" pitchFamily="34" charset="0"/>
                        <a:buNone/>
                      </a:pPr>
                      <a:r>
                        <a:rPr lang="en-US" sz="1100" b="1" i="0" u="none" strike="noStrike" dirty="0">
                          <a:solidFill>
                            <a:srgbClr val="1E1E1E"/>
                          </a:solidFill>
                          <a:effectLst/>
                          <a:latin typeface="+mj-lt"/>
                        </a:rPr>
                        <a:t>Supply Chain Disruption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Delays or shortages in key inputs due to logistics or supplier issue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D2D2"/>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a:solidFill>
                            <a:srgbClr val="1E1E1E"/>
                          </a:solidFill>
                          <a:effectLst/>
                          <a:latin typeface="+mj-lt"/>
                        </a:rPr>
                        <a:t>Develop multi-sourcing strategies; build buffer inventory; digitize supply chain monitoring</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extLst>
                  <a:ext uri="{0D108BD9-81ED-4DB2-BD59-A6C34878D82A}">
                    <a16:rowId xmlns:a16="http://schemas.microsoft.com/office/drawing/2014/main" val="3619526290"/>
                  </a:ext>
                </a:extLst>
              </a:tr>
              <a:tr h="909138">
                <a:tc>
                  <a:txBody>
                    <a:bodyPr/>
                    <a:lstStyle/>
                    <a:p>
                      <a:pPr marL="0" indent="0" algn="l" defTabSz="914400" rtl="0" eaLnBrk="1" fontAlgn="ctr" latinLnBrk="0" hangingPunct="1">
                        <a:buClr>
                          <a:schemeClr val="tx1"/>
                        </a:buClr>
                        <a:buSzPct val="100000"/>
                        <a:buFont typeface="Arial" panose="020B0604020202020204" pitchFamily="34" charset="0"/>
                        <a:buNone/>
                      </a:pPr>
                      <a:r>
                        <a:rPr lang="en-US" sz="1100" b="1" i="0" u="none" strike="noStrike" dirty="0">
                          <a:solidFill>
                            <a:srgbClr val="1E1E1E"/>
                          </a:solidFill>
                          <a:effectLst/>
                          <a:latin typeface="+mj-lt"/>
                        </a:rPr>
                        <a:t>Technology Obsolescence</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1E1E1"/>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a:solidFill>
                            <a:srgbClr val="1E1E1E"/>
                          </a:solidFill>
                          <a:effectLst/>
                          <a:latin typeface="+mj-lt"/>
                        </a:rPr>
                        <a:t>Rapid tech advancements may render current systems less competitive</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mpd="sng">
                      <a:solidFill>
                        <a:schemeClr val="bg1"/>
                      </a:solidFill>
                    </a:lnB>
                    <a:solidFill>
                      <a:srgbClr val="D2D2D2"/>
                    </a:solidFill>
                  </a:tcPr>
                </a:tc>
                <a:tc>
                  <a:txBody>
                    <a:bodyPr/>
                    <a:lstStyle/>
                    <a:p>
                      <a:pPr marL="139700" indent="-139700" algn="l" fontAlgn="ctr">
                        <a:buClr>
                          <a:srgbClr val="1E1E1E"/>
                        </a:buClr>
                        <a:buSzPct val="100000"/>
                        <a:buFont typeface="Arial" panose="020B0604020202020204" pitchFamily="34" charset="0"/>
                        <a:buChar char="–"/>
                      </a:pPr>
                      <a:r>
                        <a:rPr lang="en-US" sz="1100" b="0" i="0" u="none" strike="noStrike" dirty="0">
                          <a:solidFill>
                            <a:srgbClr val="1E1E1E"/>
                          </a:solidFill>
                          <a:effectLst/>
                          <a:latin typeface="+mj-lt"/>
                        </a:rPr>
                        <a:t>Invest in R&amp;D; establish innovation labs; adopt agile tech evaluation and upgrade processes</a:t>
                      </a:r>
                    </a:p>
                  </a:txBody>
                  <a:tcPr anchor="ctr">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mpd="sng">
                      <a:solidFill>
                        <a:schemeClr val="bg1"/>
                      </a:solidFill>
                    </a:lnB>
                    <a:solidFill>
                      <a:srgbClr val="E1E1E1"/>
                    </a:solidFill>
                  </a:tcPr>
                </a:tc>
                <a:extLst>
                  <a:ext uri="{0D108BD9-81ED-4DB2-BD59-A6C34878D82A}">
                    <a16:rowId xmlns:a16="http://schemas.microsoft.com/office/drawing/2014/main" val="498534766"/>
                  </a:ext>
                </a:extLst>
              </a:tr>
            </a:tbl>
          </a:graphicData>
        </a:graphic>
      </p:graphicFrame>
      <p:sp>
        <p:nvSpPr>
          <p:cNvPr id="4" name="Rectangle 3">
            <a:extLst>
              <a:ext uri="{FF2B5EF4-FFF2-40B4-BE49-F238E27FC236}">
                <a16:creationId xmlns:a16="http://schemas.microsoft.com/office/drawing/2014/main" id="{79DFAA1B-71E5-2B4F-BAEA-CCA165CBE536}"/>
              </a:ext>
            </a:extLst>
          </p:cNvPr>
          <p:cNvSpPr/>
          <p:nvPr/>
        </p:nvSpPr>
        <p:spPr>
          <a:xfrm>
            <a:off x="381000" y="3429000"/>
            <a:ext cx="2286000" cy="152400"/>
          </a:xfrm>
          <a:prstGeom prst="rect">
            <a:avLst/>
          </a:prstGeom>
          <a:noFill/>
          <a:ln w="635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nSpc>
                <a:spcPct val="90000"/>
              </a:lnSpc>
            </a:pPr>
            <a:r>
              <a:rPr lang="en-US" sz="1100" b="1">
                <a:solidFill>
                  <a:schemeClr val="accent3"/>
                </a:solidFill>
                <a:latin typeface="Arial" panose="020B0604020202020204" pitchFamily="34" charset="0"/>
              </a:rPr>
              <a:t>Non-Exhaustive</a:t>
            </a:r>
          </a:p>
        </p:txBody>
      </p:sp>
    </p:spTree>
    <p:extLst>
      <p:ext uri="{BB962C8B-B14F-4D97-AF65-F5344CB8AC3E}">
        <p14:creationId xmlns:p14="http://schemas.microsoft.com/office/powerpoint/2010/main" val="1362288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87020-F489-BD4E-E0B6-25D27C810E0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A39A1F-B721-B623-4FE5-092B2C5A12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22A39A1F-B721-B623-4FE5-092B2C5A12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244E5B-94D2-0D71-8379-BB53C7FA3DA5}"/>
              </a:ext>
            </a:extLst>
          </p:cNvPr>
          <p:cNvSpPr>
            <a:spLocks noGrp="1"/>
          </p:cNvSpPr>
          <p:nvPr>
            <p:ph type="title"/>
          </p:nvPr>
        </p:nvSpPr>
        <p:spPr/>
        <p:txBody>
          <a:bodyPr vert="horz"/>
          <a:lstStyle/>
          <a:p>
            <a:r>
              <a:rPr lang="en-US"/>
              <a:t>We divided the main problem into different goal statements focusing on each type of products</a:t>
            </a:r>
          </a:p>
        </p:txBody>
      </p:sp>
      <p:sp>
        <p:nvSpPr>
          <p:cNvPr id="6" name="TextBox 5">
            <a:extLst>
              <a:ext uri="{FF2B5EF4-FFF2-40B4-BE49-F238E27FC236}">
                <a16:creationId xmlns:a16="http://schemas.microsoft.com/office/drawing/2014/main" id="{C0DB7237-EA78-DA7F-799E-AEA2750AD80A}"/>
              </a:ext>
            </a:extLst>
          </p:cNvPr>
          <p:cNvSpPr txBox="1"/>
          <p:nvPr/>
        </p:nvSpPr>
        <p:spPr>
          <a:xfrm>
            <a:off x="3429000" y="6096000"/>
            <a:ext cx="8378825" cy="381000"/>
          </a:xfrm>
          <a:prstGeom prst="rect">
            <a:avLst/>
          </a:prstGeom>
          <a:noFill/>
        </p:spPr>
        <p:txBody>
          <a:bodyPr wrap="square" lIns="0" tIns="0" rIns="0" bIns="0" anchor="b" anchorCtr="0">
            <a:noAutofit/>
          </a:bodyPr>
          <a:lstStyle/>
          <a:p>
            <a:pPr marL="0" marR="0" lvl="0" indent="0" defTabSz="914400" rtl="0" eaLnBrk="1" fontAlgn="auto" latinLnBrk="0" hangingPunct="1">
              <a:lnSpc>
                <a:spcPct val="90000"/>
              </a:lnSpc>
              <a:buClrTx/>
              <a:buSzTx/>
              <a:tabLst/>
              <a:defRPr/>
            </a:pPr>
            <a:r>
              <a:rPr kumimoji="0" lang="en-US" sz="700" u="none" strike="noStrike" kern="1200" cap="none" normalizeH="0" baseline="0" noProof="0">
                <a:ln>
                  <a:noFill/>
                </a:ln>
                <a:effectLst/>
                <a:uLnTx/>
                <a:uFillTx/>
                <a:latin typeface="Arial" panose="020B0604020202020204" pitchFamily="34" charset="0"/>
                <a:ea typeface="+mn-ea"/>
                <a:cs typeface="+mn-cs"/>
              </a:rPr>
              <a:t>Source: Kearney</a:t>
            </a:r>
          </a:p>
        </p:txBody>
      </p:sp>
      <p:sp>
        <p:nvSpPr>
          <p:cNvPr id="9" name="Rectangle 8">
            <a:extLst>
              <a:ext uri="{FF2B5EF4-FFF2-40B4-BE49-F238E27FC236}">
                <a16:creationId xmlns:a16="http://schemas.microsoft.com/office/drawing/2014/main" id="{5EC63094-A887-886E-828C-2A584967B11F}"/>
              </a:ext>
            </a:extLst>
          </p:cNvPr>
          <p:cNvSpPr/>
          <p:nvPr/>
        </p:nvSpPr>
        <p:spPr>
          <a:xfrm>
            <a:off x="3048000" y="0"/>
            <a:ext cx="4572000" cy="3429000"/>
          </a:xfrm>
          <a:prstGeom prst="rect">
            <a:avLst/>
          </a:prstGeom>
          <a:solidFill>
            <a:srgbClr val="DBDBD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pic>
        <p:nvPicPr>
          <p:cNvPr id="5" name="Graphic 4">
            <a:extLst>
              <a:ext uri="{FF2B5EF4-FFF2-40B4-BE49-F238E27FC236}">
                <a16:creationId xmlns:a16="http://schemas.microsoft.com/office/drawing/2014/main" id="{CA69F289-C1D2-F403-D268-C06180FA9D8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6180755" y="2046564"/>
            <a:ext cx="1439245" cy="1439245"/>
          </a:xfrm>
          <a:prstGeom prst="rect">
            <a:avLst/>
          </a:prstGeom>
        </p:spPr>
      </p:pic>
      <p:sp>
        <p:nvSpPr>
          <p:cNvPr id="10" name="Rectangle 9">
            <a:extLst>
              <a:ext uri="{FF2B5EF4-FFF2-40B4-BE49-F238E27FC236}">
                <a16:creationId xmlns:a16="http://schemas.microsoft.com/office/drawing/2014/main" id="{9D023BC9-74A4-3978-BEE7-3E450B781095}"/>
              </a:ext>
            </a:extLst>
          </p:cNvPr>
          <p:cNvSpPr/>
          <p:nvPr/>
        </p:nvSpPr>
        <p:spPr>
          <a:xfrm>
            <a:off x="3048000" y="3434080"/>
            <a:ext cx="4572000" cy="3429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1" name="Rectangle 10">
            <a:extLst>
              <a:ext uri="{FF2B5EF4-FFF2-40B4-BE49-F238E27FC236}">
                <a16:creationId xmlns:a16="http://schemas.microsoft.com/office/drawing/2014/main" id="{0970DF49-B326-98F6-5364-435D9877F269}"/>
              </a:ext>
            </a:extLst>
          </p:cNvPr>
          <p:cNvSpPr/>
          <p:nvPr/>
        </p:nvSpPr>
        <p:spPr>
          <a:xfrm>
            <a:off x="7620000" y="0"/>
            <a:ext cx="4572000" cy="3429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2" name="Rectangle 11">
            <a:extLst>
              <a:ext uri="{FF2B5EF4-FFF2-40B4-BE49-F238E27FC236}">
                <a16:creationId xmlns:a16="http://schemas.microsoft.com/office/drawing/2014/main" id="{CC0A2CC1-DE3D-BAB2-1E7A-FD778CEAEC2D}"/>
              </a:ext>
            </a:extLst>
          </p:cNvPr>
          <p:cNvSpPr/>
          <p:nvPr/>
        </p:nvSpPr>
        <p:spPr>
          <a:xfrm>
            <a:off x="7620000" y="3434080"/>
            <a:ext cx="4572000" cy="3429000"/>
          </a:xfrm>
          <a:prstGeom prst="rect">
            <a:avLst/>
          </a:prstGeom>
          <a:solidFill>
            <a:srgbClr val="DBDBD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4" name="TextBox 13">
            <a:extLst>
              <a:ext uri="{FF2B5EF4-FFF2-40B4-BE49-F238E27FC236}">
                <a16:creationId xmlns:a16="http://schemas.microsoft.com/office/drawing/2014/main" id="{B27A8E86-966F-25B2-02AD-776316FC1B3A}"/>
              </a:ext>
            </a:extLst>
          </p:cNvPr>
          <p:cNvSpPr txBox="1"/>
          <p:nvPr/>
        </p:nvSpPr>
        <p:spPr>
          <a:xfrm>
            <a:off x="3325977" y="381000"/>
            <a:ext cx="4002269" cy="2360646"/>
          </a:xfrm>
          <a:prstGeom prst="rect">
            <a:avLst/>
          </a:prstGeom>
          <a:noFill/>
        </p:spPr>
        <p:txBody>
          <a:bodyPr wrap="square">
            <a:spAutoFit/>
          </a:bodyPr>
          <a:lstStyle/>
          <a:p>
            <a:pPr algn="l">
              <a:lnSpc>
                <a:spcPct val="90000"/>
              </a:lnSpc>
              <a:spcBef>
                <a:spcPts val="600"/>
              </a:spcBef>
            </a:pPr>
            <a:r>
              <a:rPr lang="en-US" b="1" i="0" u="none" strike="noStrike" kern="1200" dirty="0">
                <a:solidFill>
                  <a:schemeClr val="tx2"/>
                </a:solidFill>
                <a:effectLst/>
                <a:latin typeface="+mj-lt"/>
                <a:ea typeface="+mn-ea"/>
                <a:cs typeface="+mn-cs"/>
              </a:rPr>
              <a:t>1. Should we close underutilized factory to cut costs?</a:t>
            </a:r>
            <a:endParaRPr lang="en-US" b="1" dirty="0">
              <a:solidFill>
                <a:schemeClr val="tx2"/>
              </a:solidFill>
              <a:latin typeface="+mj-lt"/>
            </a:endParaRPr>
          </a:p>
          <a:p>
            <a:pPr algn="l">
              <a:lnSpc>
                <a:spcPct val="90000"/>
              </a:lnSpc>
              <a:spcBef>
                <a:spcPts val="600"/>
              </a:spcBef>
            </a:pPr>
            <a:endParaRPr lang="en-US" sz="2000" b="1" i="0" u="none" strike="noStrike" kern="1200" dirty="0">
              <a:solidFill>
                <a:schemeClr val="tx2"/>
              </a:solidFill>
              <a:effectLst/>
              <a:latin typeface="+mj-lt"/>
              <a:ea typeface="+mn-ea"/>
              <a:cs typeface="+mn-cs"/>
            </a:endParaRPr>
          </a:p>
          <a:p>
            <a:pPr marL="152400" indent="-152400">
              <a:lnSpc>
                <a:spcPct val="90000"/>
              </a:lnSpc>
              <a:spcBef>
                <a:spcPts val="600"/>
              </a:spcBef>
              <a:buClr>
                <a:srgbClr val="161616"/>
              </a:buClr>
              <a:buSzPct val="100000"/>
              <a:buFont typeface="Arial" panose="020B0604020202020204" pitchFamily="34" charset="0"/>
              <a:buChar char="–"/>
              <a:defRPr/>
            </a:pPr>
            <a:r>
              <a:rPr kumimoji="0" lang="en-US" sz="1600" b="0" i="0" u="none" strike="noStrike" kern="1200" cap="none" spc="0" normalizeH="0" baseline="0" noProof="0" dirty="0">
                <a:ln>
                  <a:noFill/>
                </a:ln>
                <a:solidFill>
                  <a:srgbClr val="1E1E1E">
                    <a:lumMod val="75000"/>
                  </a:srgbClr>
                </a:solidFill>
                <a:effectLst/>
                <a:uLnTx/>
                <a:uFillTx/>
                <a:latin typeface="+mj-lt"/>
                <a:ea typeface="+mn-ea"/>
                <a:cs typeface="+mn-cs"/>
              </a:rPr>
              <a:t>Factory is underutilized</a:t>
            </a:r>
          </a:p>
          <a:p>
            <a:pPr marL="152400" indent="-152400">
              <a:lnSpc>
                <a:spcPct val="90000"/>
              </a:lnSpc>
              <a:spcBef>
                <a:spcPts val="600"/>
              </a:spcBef>
              <a:buClr>
                <a:srgbClr val="161616"/>
              </a:buClr>
              <a:buSzPct val="100000"/>
              <a:buFont typeface="Arial" panose="020B0604020202020204" pitchFamily="34" charset="0"/>
              <a:buChar char="–"/>
              <a:defRPr/>
            </a:pPr>
            <a:r>
              <a:rPr lang="en-US" sz="1600" dirty="0">
                <a:solidFill>
                  <a:srgbClr val="1E1E1E">
                    <a:lumMod val="75000"/>
                  </a:srgbClr>
                </a:solidFill>
                <a:latin typeface="+mj-lt"/>
              </a:rPr>
              <a:t>Higher raw material costs</a:t>
            </a:r>
          </a:p>
          <a:p>
            <a:pPr marL="152400" indent="-152400">
              <a:lnSpc>
                <a:spcPct val="90000"/>
              </a:lnSpc>
              <a:spcBef>
                <a:spcPts val="600"/>
              </a:spcBef>
              <a:buClr>
                <a:srgbClr val="161616"/>
              </a:buClr>
              <a:buSzPct val="100000"/>
              <a:buFont typeface="Arial" panose="020B0604020202020204" pitchFamily="34" charset="0"/>
              <a:buChar char="–"/>
              <a:defRPr/>
            </a:pPr>
            <a:r>
              <a:rPr kumimoji="0" lang="en-US" sz="1600" b="0" i="0" u="none" strike="noStrike" kern="1200" cap="none" spc="0" normalizeH="0" baseline="0" noProof="0" dirty="0">
                <a:ln>
                  <a:noFill/>
                </a:ln>
                <a:solidFill>
                  <a:srgbClr val="1E1E1E">
                    <a:lumMod val="75000"/>
                  </a:srgbClr>
                </a:solidFill>
                <a:effectLst/>
                <a:uLnTx/>
                <a:uFillTx/>
                <a:latin typeface="+mj-lt"/>
                <a:ea typeface="+mn-ea"/>
                <a:cs typeface="+mn-cs"/>
              </a:rPr>
              <a:t>Competition faced from low – cost Southeast Asia suppliers </a:t>
            </a:r>
          </a:p>
          <a:p>
            <a:pPr marL="152400" indent="-152400">
              <a:lnSpc>
                <a:spcPct val="90000"/>
              </a:lnSpc>
              <a:spcBef>
                <a:spcPts val="600"/>
              </a:spcBef>
              <a:buClr>
                <a:srgbClr val="161616"/>
              </a:buClr>
              <a:buSzPct val="100000"/>
              <a:buFont typeface="Arial" panose="020B0604020202020204" pitchFamily="34" charset="0"/>
              <a:buChar char="–"/>
              <a:defRPr/>
            </a:pPr>
            <a:r>
              <a:rPr kumimoji="0" lang="en-US" sz="1600" b="0" i="0" u="none" strike="noStrike" kern="1200" cap="none" spc="0" normalizeH="0" baseline="0" noProof="0" dirty="0">
                <a:ln>
                  <a:noFill/>
                </a:ln>
                <a:solidFill>
                  <a:srgbClr val="1E1E1E">
                    <a:lumMod val="75000"/>
                  </a:srgbClr>
                </a:solidFill>
                <a:effectLst/>
                <a:uLnTx/>
                <a:uFillTx/>
                <a:latin typeface="+mj-lt"/>
                <a:ea typeface="+mn-ea"/>
                <a:cs typeface="+mn-cs"/>
              </a:rPr>
              <a:t>Particularly impacted on smaller </a:t>
            </a:r>
            <a:r>
              <a:rPr lang="en-US" sz="1600" dirty="0">
                <a:solidFill>
                  <a:srgbClr val="1E1E1E">
                    <a:lumMod val="75000"/>
                  </a:srgbClr>
                </a:solidFill>
                <a:latin typeface="+mj-lt"/>
              </a:rPr>
              <a:t>goods</a:t>
            </a:r>
            <a:endParaRPr kumimoji="0" lang="en-US" sz="1600" b="0" i="0" u="none" strike="noStrike" kern="1200" cap="none" spc="0" normalizeH="0" baseline="0" noProof="0" dirty="0">
              <a:ln>
                <a:noFill/>
              </a:ln>
              <a:solidFill>
                <a:srgbClr val="1E1E1E">
                  <a:lumMod val="75000"/>
                </a:srgbClr>
              </a:solidFill>
              <a:effectLst/>
              <a:uLnTx/>
              <a:uFillTx/>
              <a:latin typeface="+mj-lt"/>
              <a:ea typeface="+mn-ea"/>
              <a:cs typeface="+mn-cs"/>
            </a:endParaRPr>
          </a:p>
        </p:txBody>
      </p:sp>
      <p:pic>
        <p:nvPicPr>
          <p:cNvPr id="18" name="Graphic 17">
            <a:extLst>
              <a:ext uri="{FF2B5EF4-FFF2-40B4-BE49-F238E27FC236}">
                <a16:creationId xmlns:a16="http://schemas.microsoft.com/office/drawing/2014/main" id="{35BB29B0-7599-136B-988C-B331C54A523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79031" y="2119725"/>
            <a:ext cx="1298122" cy="1303520"/>
          </a:xfrm>
          <a:prstGeom prst="rect">
            <a:avLst/>
          </a:prstGeom>
        </p:spPr>
      </p:pic>
      <p:sp>
        <p:nvSpPr>
          <p:cNvPr id="15" name="TextBox 14">
            <a:extLst>
              <a:ext uri="{FF2B5EF4-FFF2-40B4-BE49-F238E27FC236}">
                <a16:creationId xmlns:a16="http://schemas.microsoft.com/office/drawing/2014/main" id="{DDB57D14-33A4-D5E8-EF63-621E6E8B8C12}"/>
              </a:ext>
            </a:extLst>
          </p:cNvPr>
          <p:cNvSpPr txBox="1"/>
          <p:nvPr/>
        </p:nvSpPr>
        <p:spPr>
          <a:xfrm>
            <a:off x="7897977" y="389285"/>
            <a:ext cx="3911250" cy="2622256"/>
          </a:xfrm>
          <a:prstGeom prst="rect">
            <a:avLst/>
          </a:prstGeom>
          <a:noFill/>
        </p:spPr>
        <p:txBody>
          <a:bodyPr wrap="square" lIns="91440" tIns="45720" rIns="91440" bIns="45720" anchor="t">
            <a:spAutoFit/>
          </a:bodyPr>
          <a:lstStyle/>
          <a:p>
            <a:pPr>
              <a:lnSpc>
                <a:spcPct val="90000"/>
              </a:lnSpc>
              <a:spcBef>
                <a:spcPts val="600"/>
              </a:spcBef>
            </a:pPr>
            <a:r>
              <a:rPr lang="en-US" b="1" i="0" u="none" strike="noStrike" kern="1200" dirty="0">
                <a:solidFill>
                  <a:schemeClr val="tx2"/>
                </a:solidFill>
                <a:effectLst/>
                <a:latin typeface="+mj-lt"/>
                <a:ea typeface="+mn-ea"/>
                <a:cs typeface="+mn-cs"/>
              </a:rPr>
              <a:t>2. How will exiting </a:t>
            </a:r>
            <a:r>
              <a:rPr lang="en-US" b="1" dirty="0">
                <a:solidFill>
                  <a:schemeClr val="tx2"/>
                </a:solidFill>
                <a:latin typeface="+mj-lt"/>
              </a:rPr>
              <a:t>target goods affect </a:t>
            </a:r>
            <a:r>
              <a:rPr lang="en-US" b="1" i="0" u="none" strike="noStrike" kern="1200" dirty="0">
                <a:solidFill>
                  <a:schemeClr val="tx2"/>
                </a:solidFill>
                <a:effectLst/>
                <a:latin typeface="+mj-lt"/>
                <a:ea typeface="+mn-ea"/>
                <a:cs typeface="+mn-cs"/>
              </a:rPr>
              <a:t>sales</a:t>
            </a:r>
            <a:r>
              <a:rPr lang="en-US" b="1" dirty="0">
                <a:solidFill>
                  <a:schemeClr val="tx2"/>
                </a:solidFill>
                <a:latin typeface="+mj-lt"/>
              </a:rPr>
              <a:t> in starter bundles and durable goods</a:t>
            </a:r>
            <a:r>
              <a:rPr lang="en-US" b="1" i="0" u="none" strike="noStrike" kern="1200" dirty="0">
                <a:solidFill>
                  <a:schemeClr val="tx2"/>
                </a:solidFill>
                <a:effectLst/>
                <a:latin typeface="+mj-lt"/>
                <a:ea typeface="+mn-ea"/>
                <a:cs typeface="+mn-cs"/>
              </a:rPr>
              <a:t>?</a:t>
            </a:r>
          </a:p>
          <a:p>
            <a:pPr marL="152400" indent="-152400">
              <a:lnSpc>
                <a:spcPct val="90000"/>
              </a:lnSpc>
              <a:spcBef>
                <a:spcPts val="600"/>
              </a:spcBef>
              <a:buClr>
                <a:srgbClr val="161616"/>
              </a:buClr>
              <a:buSzPct val="100000"/>
              <a:buFont typeface="Arial" panose="020B0604020202020204" pitchFamily="34" charset="0"/>
              <a:buChar char="–"/>
              <a:defRPr/>
            </a:pPr>
            <a:r>
              <a:rPr kumimoji="0" lang="en-US" sz="1600" b="0" i="0" u="none" strike="noStrike" kern="1200" cap="none" spc="0" normalizeH="0" baseline="0" noProof="0" dirty="0">
                <a:ln>
                  <a:noFill/>
                </a:ln>
                <a:solidFill>
                  <a:srgbClr val="1E1E1E"/>
                </a:solidFill>
                <a:effectLst/>
                <a:uLnTx/>
                <a:uFillTx/>
                <a:latin typeface="+mj-lt"/>
                <a:ea typeface="+mn-ea"/>
                <a:cs typeface="+mn-cs"/>
              </a:rPr>
              <a:t>Exiting one business could impact </a:t>
            </a:r>
            <a:r>
              <a:rPr lang="en-US" sz="1600" dirty="0">
                <a:solidFill>
                  <a:srgbClr val="1E1E1E"/>
                </a:solidFill>
                <a:latin typeface="+mj-lt"/>
              </a:rPr>
              <a:t>starter</a:t>
            </a:r>
            <a:r>
              <a:rPr kumimoji="0" lang="en-US" sz="1600" b="0" i="0" u="none" strike="noStrike" kern="1200" cap="none" spc="0" normalizeH="0" baseline="0" noProof="0" dirty="0">
                <a:ln>
                  <a:noFill/>
                </a:ln>
                <a:solidFill>
                  <a:srgbClr val="1E1E1E"/>
                </a:solidFill>
                <a:effectLst/>
                <a:uLnTx/>
                <a:uFillTx/>
                <a:latin typeface="+mj-lt"/>
                <a:ea typeface="+mn-ea"/>
                <a:cs typeface="+mn-cs"/>
              </a:rPr>
              <a:t> </a:t>
            </a:r>
            <a:r>
              <a:rPr lang="en-US" sz="1600" dirty="0">
                <a:solidFill>
                  <a:srgbClr val="1E1E1E"/>
                </a:solidFill>
                <a:latin typeface="+mj-lt"/>
              </a:rPr>
              <a:t>bundles </a:t>
            </a:r>
            <a:r>
              <a:rPr kumimoji="0" lang="en-US" sz="1600" b="0" i="0" u="none" strike="noStrike" kern="1200" cap="none" spc="0" normalizeH="0" baseline="0" noProof="0" dirty="0">
                <a:ln>
                  <a:noFill/>
                </a:ln>
                <a:solidFill>
                  <a:srgbClr val="1E1E1E"/>
                </a:solidFill>
                <a:effectLst/>
                <a:uLnTx/>
                <a:uFillTx/>
                <a:latin typeface="+mj-lt"/>
                <a:ea typeface="+mn-ea"/>
                <a:cs typeface="+mn-cs"/>
              </a:rPr>
              <a:t>and </a:t>
            </a:r>
            <a:r>
              <a:rPr lang="en-US" sz="1600" dirty="0">
                <a:solidFill>
                  <a:srgbClr val="1E1E1E"/>
                </a:solidFill>
                <a:latin typeface="+mj-lt"/>
              </a:rPr>
              <a:t>durable</a:t>
            </a:r>
            <a:r>
              <a:rPr kumimoji="0" lang="en-US" sz="1600" b="0" i="0" u="none" strike="noStrike" kern="1200" cap="none" spc="0" normalizeH="0" baseline="0" noProof="0" dirty="0">
                <a:ln>
                  <a:noFill/>
                </a:ln>
                <a:solidFill>
                  <a:srgbClr val="1E1E1E"/>
                </a:solidFill>
                <a:effectLst/>
                <a:uLnTx/>
                <a:uFillTx/>
                <a:latin typeface="+mj-lt"/>
                <a:ea typeface="+mn-ea"/>
                <a:cs typeface="+mn-cs"/>
              </a:rPr>
              <a:t> </a:t>
            </a:r>
            <a:r>
              <a:rPr lang="en-US" sz="1600" dirty="0">
                <a:solidFill>
                  <a:srgbClr val="1E1E1E"/>
                </a:solidFill>
                <a:latin typeface="+mj-lt"/>
              </a:rPr>
              <a:t>goods </a:t>
            </a:r>
            <a:r>
              <a:rPr kumimoji="0" lang="en-US" sz="1600" b="0" i="0" u="none" strike="noStrike" kern="1200" cap="none" spc="0" normalizeH="0" baseline="0" noProof="0" dirty="0">
                <a:ln>
                  <a:noFill/>
                </a:ln>
                <a:solidFill>
                  <a:srgbClr val="1E1E1E"/>
                </a:solidFill>
                <a:effectLst/>
                <a:uLnTx/>
                <a:uFillTx/>
                <a:latin typeface="+mj-lt"/>
                <a:ea typeface="+mn-ea"/>
                <a:cs typeface="+mn-cs"/>
              </a:rPr>
              <a:t>viability</a:t>
            </a:r>
            <a:endParaRPr lang="en-US" sz="1600" b="0" i="0" u="none" strike="noStrike" kern="1200" cap="none" spc="0" normalizeH="0" baseline="0" noProof="0" dirty="0">
              <a:ln>
                <a:noFill/>
              </a:ln>
              <a:solidFill>
                <a:srgbClr val="1E1E1E"/>
              </a:solidFill>
              <a:effectLst/>
              <a:uLnTx/>
              <a:uFillTx/>
              <a:latin typeface="+mj-lt"/>
              <a:cs typeface="Arial"/>
            </a:endParaRPr>
          </a:p>
          <a:p>
            <a:pPr marL="152400" indent="-152400">
              <a:lnSpc>
                <a:spcPct val="90000"/>
              </a:lnSpc>
              <a:spcBef>
                <a:spcPts val="600"/>
              </a:spcBef>
              <a:buClr>
                <a:srgbClr val="161616"/>
              </a:buClr>
              <a:buSzPct val="100000"/>
              <a:buFont typeface="Arial" panose="020B0604020202020204" pitchFamily="34" charset="0"/>
              <a:buChar char="–"/>
              <a:defRPr/>
            </a:pPr>
            <a:r>
              <a:rPr kumimoji="0" lang="en-US" sz="1600" b="0" i="0" u="none" strike="noStrike" kern="1200" cap="none" spc="0" normalizeH="0" baseline="0" noProof="0" dirty="0">
                <a:ln>
                  <a:noFill/>
                </a:ln>
                <a:solidFill>
                  <a:srgbClr val="1E1E1E">
                    <a:lumMod val="75000"/>
                  </a:srgbClr>
                </a:solidFill>
                <a:effectLst/>
                <a:uLnTx/>
                <a:uFillTx/>
                <a:latin typeface="+mj-lt"/>
                <a:ea typeface="+mn-ea"/>
                <a:cs typeface="+mn-cs"/>
              </a:rPr>
              <a:t>May reduce demand for standalone durable goods</a:t>
            </a:r>
          </a:p>
          <a:p>
            <a:pPr marL="152400" indent="-152400">
              <a:lnSpc>
                <a:spcPct val="90000"/>
              </a:lnSpc>
              <a:spcBef>
                <a:spcPts val="600"/>
              </a:spcBef>
              <a:buClr>
                <a:srgbClr val="161616"/>
              </a:buClr>
              <a:buSzPct val="100000"/>
              <a:buFont typeface="Arial" panose="020B0604020202020204" pitchFamily="34" charset="0"/>
              <a:buChar char="–"/>
              <a:defRPr/>
            </a:pPr>
            <a:r>
              <a:rPr kumimoji="0" lang="en-US" sz="1600" b="0" i="0" u="none" strike="noStrike" kern="1200" cap="none" spc="0" normalizeH="0" baseline="0" noProof="0" dirty="0">
                <a:ln>
                  <a:noFill/>
                </a:ln>
                <a:solidFill>
                  <a:srgbClr val="1E1E1E">
                    <a:lumMod val="75000"/>
                  </a:srgbClr>
                </a:solidFill>
                <a:effectLst/>
                <a:uLnTx/>
                <a:uFillTx/>
                <a:latin typeface="+mj-lt"/>
                <a:ea typeface="+mn-ea"/>
                <a:cs typeface="+mn-cs"/>
              </a:rPr>
              <a:t>Could weaken new customer acquisition via bundled items</a:t>
            </a:r>
          </a:p>
        </p:txBody>
      </p:sp>
      <p:pic>
        <p:nvPicPr>
          <p:cNvPr id="8" name="Graphic 7">
            <a:extLst>
              <a:ext uri="{FF2B5EF4-FFF2-40B4-BE49-F238E27FC236}">
                <a16:creationId xmlns:a16="http://schemas.microsoft.com/office/drawing/2014/main" id="{C8C04D83-C118-9F08-65B6-BD30971BDDB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28355" y="5410200"/>
            <a:ext cx="1524000" cy="1524000"/>
          </a:xfrm>
          <a:prstGeom prst="rect">
            <a:avLst/>
          </a:prstGeom>
        </p:spPr>
      </p:pic>
      <p:sp>
        <p:nvSpPr>
          <p:cNvPr id="16" name="TextBox 15">
            <a:extLst>
              <a:ext uri="{FF2B5EF4-FFF2-40B4-BE49-F238E27FC236}">
                <a16:creationId xmlns:a16="http://schemas.microsoft.com/office/drawing/2014/main" id="{630694DF-5923-56AD-F659-1FB1F0860A80}"/>
              </a:ext>
            </a:extLst>
          </p:cNvPr>
          <p:cNvSpPr txBox="1"/>
          <p:nvPr/>
        </p:nvSpPr>
        <p:spPr>
          <a:xfrm>
            <a:off x="3325977" y="3815080"/>
            <a:ext cx="4002269" cy="2505301"/>
          </a:xfrm>
          <a:prstGeom prst="rect">
            <a:avLst/>
          </a:prstGeom>
          <a:noFill/>
        </p:spPr>
        <p:txBody>
          <a:bodyPr wrap="square" lIns="91440" tIns="45720" rIns="91440" bIns="45720" anchor="t">
            <a:spAutoFit/>
          </a:bodyPr>
          <a:lstStyle/>
          <a:p>
            <a:pPr>
              <a:lnSpc>
                <a:spcPct val="90000"/>
              </a:lnSpc>
              <a:spcBef>
                <a:spcPts val="600"/>
              </a:spcBef>
            </a:pPr>
            <a:r>
              <a:rPr lang="en-US" b="1" dirty="0">
                <a:solidFill>
                  <a:schemeClr val="tx2"/>
                </a:solidFill>
                <a:latin typeface="+mj-lt"/>
              </a:rPr>
              <a:t>3. </a:t>
            </a:r>
            <a:r>
              <a:rPr lang="en-US" b="1" i="0" u="none" strike="noStrike" kern="1200" dirty="0">
                <a:solidFill>
                  <a:schemeClr val="tx2"/>
                </a:solidFill>
                <a:effectLst/>
                <a:latin typeface="+mj-lt"/>
                <a:ea typeface="+mn-ea"/>
                <a:cs typeface="+mn-cs"/>
              </a:rPr>
              <a:t>Will exiting</a:t>
            </a:r>
            <a:r>
              <a:rPr lang="en-US" b="1" dirty="0">
                <a:solidFill>
                  <a:schemeClr val="tx2"/>
                </a:solidFill>
                <a:latin typeface="+mj-lt"/>
              </a:rPr>
              <a:t> target goods </a:t>
            </a:r>
            <a:r>
              <a:rPr lang="en-US" b="1" i="0" u="none" strike="noStrike" kern="1200" dirty="0">
                <a:solidFill>
                  <a:schemeClr val="tx2"/>
                </a:solidFill>
                <a:effectLst/>
                <a:latin typeface="+mj-lt"/>
                <a:ea typeface="+mn-ea"/>
                <a:cs typeface="+mn-cs"/>
              </a:rPr>
              <a:t>hurt high-margin </a:t>
            </a:r>
            <a:r>
              <a:rPr lang="en-US" b="1" dirty="0">
                <a:solidFill>
                  <a:schemeClr val="tx2"/>
                </a:solidFill>
                <a:latin typeface="+mj-lt"/>
              </a:rPr>
              <a:t>fast-moving goods</a:t>
            </a:r>
            <a:r>
              <a:rPr lang="en-US" b="1" i="0" u="none" strike="noStrike" kern="1200" dirty="0">
                <a:solidFill>
                  <a:schemeClr val="tx2"/>
                </a:solidFill>
                <a:effectLst/>
                <a:latin typeface="+mj-lt"/>
                <a:ea typeface="+mn-ea"/>
                <a:cs typeface="+mn-cs"/>
              </a:rPr>
              <a:t>’ sales?</a:t>
            </a:r>
          </a:p>
          <a:p>
            <a:pPr>
              <a:lnSpc>
                <a:spcPct val="90000"/>
              </a:lnSpc>
              <a:spcBef>
                <a:spcPts val="600"/>
              </a:spcBef>
              <a:defRPr/>
            </a:pPr>
            <a:endParaRPr lang="en-US" b="1" dirty="0">
              <a:solidFill>
                <a:schemeClr val="tx2"/>
              </a:solidFill>
              <a:latin typeface="+mj-lt"/>
            </a:endParaRPr>
          </a:p>
          <a:p>
            <a:pPr marL="152400" indent="-152400">
              <a:lnSpc>
                <a:spcPct val="90000"/>
              </a:lnSpc>
              <a:spcBef>
                <a:spcPts val="600"/>
              </a:spcBef>
              <a:buClr>
                <a:srgbClr val="161616"/>
              </a:buClr>
              <a:buSzPct val="100000"/>
              <a:buFont typeface="Arial" panose="020B0604020202020204" pitchFamily="34" charset="0"/>
              <a:buChar char="–"/>
              <a:defRPr/>
            </a:pPr>
            <a:r>
              <a:rPr lang="en-US" sz="1600" dirty="0">
                <a:solidFill>
                  <a:srgbClr val="1E1E1E"/>
                </a:solidFill>
                <a:latin typeface="+mj-lt"/>
              </a:rPr>
              <a:t>Exiting target goods and durable goods may reduce long-term sales</a:t>
            </a:r>
            <a:endParaRPr lang="en-US" sz="1600" dirty="0">
              <a:solidFill>
                <a:srgbClr val="1E1E1E"/>
              </a:solidFill>
              <a:latin typeface="+mj-lt"/>
              <a:cs typeface="Arial"/>
            </a:endParaRPr>
          </a:p>
          <a:p>
            <a:pPr marL="152400" indent="-152400">
              <a:lnSpc>
                <a:spcPct val="90000"/>
              </a:lnSpc>
              <a:spcBef>
                <a:spcPts val="600"/>
              </a:spcBef>
              <a:buClr>
                <a:srgbClr val="161616"/>
              </a:buClr>
              <a:buSzPct val="100000"/>
              <a:buFont typeface="Arial" panose="020B0604020202020204" pitchFamily="34" charset="0"/>
              <a:buChar char="–"/>
              <a:defRPr/>
            </a:pPr>
            <a:r>
              <a:rPr lang="en-US" sz="1600" dirty="0">
                <a:solidFill>
                  <a:srgbClr val="1E1E1E">
                    <a:lumMod val="75000"/>
                  </a:srgbClr>
                </a:solidFill>
                <a:latin typeface="+mj-lt"/>
              </a:rPr>
              <a:t>Could weaken customer loyalty</a:t>
            </a:r>
          </a:p>
          <a:p>
            <a:pPr marL="152400" indent="-152400">
              <a:lnSpc>
                <a:spcPct val="90000"/>
              </a:lnSpc>
              <a:spcBef>
                <a:spcPts val="600"/>
              </a:spcBef>
              <a:buClr>
                <a:srgbClr val="161616"/>
              </a:buClr>
              <a:buSzPct val="100000"/>
              <a:buFont typeface="Arial" panose="020B0604020202020204" pitchFamily="34" charset="0"/>
              <a:buChar char="–"/>
              <a:defRPr/>
            </a:pPr>
            <a:r>
              <a:rPr lang="en-US" sz="1600" dirty="0">
                <a:solidFill>
                  <a:srgbClr val="1E1E1E">
                    <a:lumMod val="75000"/>
                  </a:srgbClr>
                </a:solidFill>
                <a:latin typeface="+mj-lt"/>
              </a:rPr>
              <a:t>Likely to impact profitability of high-margin items</a:t>
            </a:r>
          </a:p>
        </p:txBody>
      </p:sp>
      <p:sp>
        <p:nvSpPr>
          <p:cNvPr id="7" name="Freeform: Shape 55">
            <a:extLst>
              <a:ext uri="{FF2B5EF4-FFF2-40B4-BE49-F238E27FC236}">
                <a16:creationId xmlns:a16="http://schemas.microsoft.com/office/drawing/2014/main" id="{87A5BC40-75ED-DB71-C3BA-FFB92075C154}"/>
              </a:ext>
            </a:extLst>
          </p:cNvPr>
          <p:cNvSpPr/>
          <p:nvPr/>
        </p:nvSpPr>
        <p:spPr>
          <a:xfrm>
            <a:off x="10703650" y="5497236"/>
            <a:ext cx="1335950" cy="1349928"/>
          </a:xfrm>
          <a:custGeom>
            <a:avLst/>
            <a:gdLst>
              <a:gd name="connsiteX0" fmla="*/ 123238 w 764576"/>
              <a:gd name="connsiteY0" fmla="*/ 570950 h 764576"/>
              <a:gd name="connsiteX1" fmla="*/ 50301 w 764576"/>
              <a:gd name="connsiteY1" fmla="*/ 642939 h 764576"/>
              <a:gd name="connsiteX2" fmla="*/ 123238 w 764576"/>
              <a:gd name="connsiteY2" fmla="*/ 714928 h 764576"/>
              <a:gd name="connsiteX3" fmla="*/ 196174 w 764576"/>
              <a:gd name="connsiteY3" fmla="*/ 642939 h 764576"/>
              <a:gd name="connsiteX4" fmla="*/ 123238 w 764576"/>
              <a:gd name="connsiteY4" fmla="*/ 570950 h 764576"/>
              <a:gd name="connsiteX5" fmla="*/ 123238 w 764576"/>
              <a:gd name="connsiteY5" fmla="*/ 521302 h 764576"/>
              <a:gd name="connsiteX6" fmla="*/ 246476 w 764576"/>
              <a:gd name="connsiteY6" fmla="*/ 642939 h 764576"/>
              <a:gd name="connsiteX7" fmla="*/ 123238 w 764576"/>
              <a:gd name="connsiteY7" fmla="*/ 764576 h 764576"/>
              <a:gd name="connsiteX8" fmla="*/ 0 w 764576"/>
              <a:gd name="connsiteY8" fmla="*/ 642939 h 764576"/>
              <a:gd name="connsiteX9" fmla="*/ 123238 w 764576"/>
              <a:gd name="connsiteY9" fmla="*/ 521302 h 764576"/>
              <a:gd name="connsiteX10" fmla="*/ 306836 w 764576"/>
              <a:gd name="connsiteY10" fmla="*/ 350018 h 764576"/>
              <a:gd name="connsiteX11" fmla="*/ 306836 w 764576"/>
              <a:gd name="connsiteY11" fmla="*/ 491514 h 764576"/>
              <a:gd name="connsiteX12" fmla="*/ 450194 w 764576"/>
              <a:gd name="connsiteY12" fmla="*/ 491514 h 764576"/>
              <a:gd name="connsiteX13" fmla="*/ 450194 w 764576"/>
              <a:gd name="connsiteY13" fmla="*/ 350018 h 764576"/>
              <a:gd name="connsiteX14" fmla="*/ 669003 w 764576"/>
              <a:gd name="connsiteY14" fmla="*/ 307816 h 764576"/>
              <a:gd name="connsiteX15" fmla="*/ 746970 w 764576"/>
              <a:gd name="connsiteY15" fmla="*/ 407111 h 764576"/>
              <a:gd name="connsiteX16" fmla="*/ 716789 w 764576"/>
              <a:gd name="connsiteY16" fmla="*/ 429453 h 764576"/>
              <a:gd name="connsiteX17" fmla="*/ 679278 w 764576"/>
              <a:gd name="connsiteY17" fmla="*/ 382332 h 764576"/>
              <a:gd name="connsiteX18" fmla="*/ 682405 w 764576"/>
              <a:gd name="connsiteY18" fmla="*/ 410487 h 764576"/>
              <a:gd name="connsiteX19" fmla="*/ 598583 w 764576"/>
              <a:gd name="connsiteY19" fmla="*/ 623082 h 764576"/>
              <a:gd name="connsiteX20" fmla="*/ 279171 w 764576"/>
              <a:gd name="connsiteY20" fmla="*/ 722377 h 764576"/>
              <a:gd name="connsiteX21" fmla="*/ 314382 w 764576"/>
              <a:gd name="connsiteY21" fmla="*/ 687624 h 764576"/>
              <a:gd name="connsiteX22" fmla="*/ 565887 w 764576"/>
              <a:gd name="connsiteY22" fmla="*/ 595775 h 764576"/>
              <a:gd name="connsiteX23" fmla="*/ 637684 w 764576"/>
              <a:gd name="connsiteY23" fmla="*/ 429958 h 764576"/>
              <a:gd name="connsiteX24" fmla="*/ 636524 w 764576"/>
              <a:gd name="connsiteY24" fmla="*/ 379282 h 764576"/>
              <a:gd name="connsiteX25" fmla="*/ 591037 w 764576"/>
              <a:gd name="connsiteY25" fmla="*/ 414558 h 764576"/>
              <a:gd name="connsiteX26" fmla="*/ 568401 w 764576"/>
              <a:gd name="connsiteY26" fmla="*/ 384770 h 764576"/>
              <a:gd name="connsiteX27" fmla="*/ 256535 w 764576"/>
              <a:gd name="connsiteY27" fmla="*/ 300370 h 764576"/>
              <a:gd name="connsiteX28" fmla="*/ 500496 w 764576"/>
              <a:gd name="connsiteY28" fmla="*/ 300370 h 764576"/>
              <a:gd name="connsiteX29" fmla="*/ 500496 w 764576"/>
              <a:gd name="connsiteY29" fmla="*/ 541162 h 764576"/>
              <a:gd name="connsiteX30" fmla="*/ 256535 w 764576"/>
              <a:gd name="connsiteY30" fmla="*/ 541162 h 764576"/>
              <a:gd name="connsiteX31" fmla="*/ 623733 w 764576"/>
              <a:gd name="connsiteY31" fmla="*/ 111708 h 764576"/>
              <a:gd name="connsiteX32" fmla="*/ 568402 w 764576"/>
              <a:gd name="connsiteY32" fmla="*/ 223416 h 764576"/>
              <a:gd name="connsiteX33" fmla="*/ 681579 w 764576"/>
              <a:gd name="connsiteY33" fmla="*/ 223416 h 764576"/>
              <a:gd name="connsiteX34" fmla="*/ 401937 w 764576"/>
              <a:gd name="connsiteY34" fmla="*/ 75480 h 764576"/>
              <a:gd name="connsiteX35" fmla="*/ 487921 w 764576"/>
              <a:gd name="connsiteY35" fmla="*/ 84401 h 764576"/>
              <a:gd name="connsiteX36" fmla="*/ 452710 w 764576"/>
              <a:gd name="connsiteY36" fmla="*/ 119154 h 764576"/>
              <a:gd name="connsiteX37" fmla="*/ 201204 w 764576"/>
              <a:gd name="connsiteY37" fmla="*/ 211003 h 764576"/>
              <a:gd name="connsiteX38" fmla="*/ 129407 w 764576"/>
              <a:gd name="connsiteY38" fmla="*/ 379263 h 764576"/>
              <a:gd name="connsiteX39" fmla="*/ 130531 w 764576"/>
              <a:gd name="connsiteY39" fmla="*/ 428398 h 764576"/>
              <a:gd name="connsiteX40" fmla="*/ 176052 w 764576"/>
              <a:gd name="connsiteY40" fmla="*/ 394700 h 764576"/>
              <a:gd name="connsiteX41" fmla="*/ 198688 w 764576"/>
              <a:gd name="connsiteY41" fmla="*/ 422006 h 764576"/>
              <a:gd name="connsiteX42" fmla="*/ 98086 w 764576"/>
              <a:gd name="connsiteY42" fmla="*/ 498960 h 764576"/>
              <a:gd name="connsiteX43" fmla="*/ 22634 w 764576"/>
              <a:gd name="connsiteY43" fmla="*/ 399665 h 764576"/>
              <a:gd name="connsiteX44" fmla="*/ 50300 w 764576"/>
              <a:gd name="connsiteY44" fmla="*/ 377323 h 764576"/>
              <a:gd name="connsiteX45" fmla="*/ 87814 w 764576"/>
              <a:gd name="connsiteY45" fmla="*/ 424448 h 764576"/>
              <a:gd name="connsiteX46" fmla="*/ 84686 w 764576"/>
              <a:gd name="connsiteY46" fmla="*/ 396291 h 764576"/>
              <a:gd name="connsiteX47" fmla="*/ 168509 w 764576"/>
              <a:gd name="connsiteY47" fmla="*/ 183696 h 764576"/>
              <a:gd name="connsiteX48" fmla="*/ 401937 w 764576"/>
              <a:gd name="connsiteY48" fmla="*/ 75480 h 764576"/>
              <a:gd name="connsiteX49" fmla="*/ 626248 w 764576"/>
              <a:gd name="connsiteY49" fmla="*/ 0 h 764576"/>
              <a:gd name="connsiteX50" fmla="*/ 764576 w 764576"/>
              <a:gd name="connsiteY50" fmla="*/ 273064 h 764576"/>
              <a:gd name="connsiteX51" fmla="*/ 487920 w 764576"/>
              <a:gd name="connsiteY51" fmla="*/ 273064 h 76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64576" h="764576">
                <a:moveTo>
                  <a:pt x="123238" y="570950"/>
                </a:moveTo>
                <a:cubicBezTo>
                  <a:pt x="82997" y="570950"/>
                  <a:pt x="50301" y="603221"/>
                  <a:pt x="50301" y="642939"/>
                </a:cubicBezTo>
                <a:cubicBezTo>
                  <a:pt x="50301" y="682657"/>
                  <a:pt x="82997" y="714928"/>
                  <a:pt x="123238" y="714928"/>
                </a:cubicBezTo>
                <a:cubicBezTo>
                  <a:pt x="163479" y="714928"/>
                  <a:pt x="196174" y="682657"/>
                  <a:pt x="196174" y="642939"/>
                </a:cubicBezTo>
                <a:cubicBezTo>
                  <a:pt x="196174" y="603221"/>
                  <a:pt x="163479" y="570950"/>
                  <a:pt x="123238" y="570950"/>
                </a:cubicBezTo>
                <a:close/>
                <a:moveTo>
                  <a:pt x="123238" y="521302"/>
                </a:moveTo>
                <a:cubicBezTo>
                  <a:pt x="191144" y="521302"/>
                  <a:pt x="246476" y="575915"/>
                  <a:pt x="246476" y="642939"/>
                </a:cubicBezTo>
                <a:cubicBezTo>
                  <a:pt x="246476" y="709964"/>
                  <a:pt x="191144" y="764576"/>
                  <a:pt x="123238" y="764576"/>
                </a:cubicBezTo>
                <a:cubicBezTo>
                  <a:pt x="55331" y="764576"/>
                  <a:pt x="0" y="709964"/>
                  <a:pt x="0" y="642939"/>
                </a:cubicBezTo>
                <a:cubicBezTo>
                  <a:pt x="0" y="575915"/>
                  <a:pt x="55331" y="521302"/>
                  <a:pt x="123238" y="521302"/>
                </a:cubicBezTo>
                <a:close/>
                <a:moveTo>
                  <a:pt x="306836" y="350018"/>
                </a:moveTo>
                <a:lnTo>
                  <a:pt x="306836" y="491514"/>
                </a:lnTo>
                <a:lnTo>
                  <a:pt x="450194" y="491514"/>
                </a:lnTo>
                <a:lnTo>
                  <a:pt x="450194" y="350018"/>
                </a:lnTo>
                <a:close/>
                <a:moveTo>
                  <a:pt x="669003" y="307816"/>
                </a:moveTo>
                <a:lnTo>
                  <a:pt x="746970" y="407111"/>
                </a:lnTo>
                <a:lnTo>
                  <a:pt x="716789" y="429453"/>
                </a:lnTo>
                <a:lnTo>
                  <a:pt x="679278" y="382332"/>
                </a:lnTo>
                <a:lnTo>
                  <a:pt x="682405" y="410487"/>
                </a:lnTo>
                <a:cubicBezTo>
                  <a:pt x="682051" y="486239"/>
                  <a:pt x="655172" y="561642"/>
                  <a:pt x="598583" y="623082"/>
                </a:cubicBezTo>
                <a:cubicBezTo>
                  <a:pt x="515586" y="714930"/>
                  <a:pt x="392349" y="749684"/>
                  <a:pt x="279171" y="722377"/>
                </a:cubicBezTo>
                <a:lnTo>
                  <a:pt x="314382" y="687624"/>
                </a:lnTo>
                <a:cubicBezTo>
                  <a:pt x="404923" y="700035"/>
                  <a:pt x="500496" y="670247"/>
                  <a:pt x="565887" y="595775"/>
                </a:cubicBezTo>
                <a:cubicBezTo>
                  <a:pt x="609271" y="549230"/>
                  <a:pt x="632850" y="490118"/>
                  <a:pt x="637684" y="429958"/>
                </a:cubicBezTo>
                <a:lnTo>
                  <a:pt x="636524" y="379282"/>
                </a:lnTo>
                <a:lnTo>
                  <a:pt x="591037" y="414558"/>
                </a:lnTo>
                <a:lnTo>
                  <a:pt x="568401" y="384770"/>
                </a:lnTo>
                <a:close/>
                <a:moveTo>
                  <a:pt x="256535" y="300370"/>
                </a:moveTo>
                <a:lnTo>
                  <a:pt x="500496" y="300370"/>
                </a:lnTo>
                <a:lnTo>
                  <a:pt x="500496" y="541162"/>
                </a:lnTo>
                <a:lnTo>
                  <a:pt x="256535" y="541162"/>
                </a:lnTo>
                <a:close/>
                <a:moveTo>
                  <a:pt x="623733" y="111708"/>
                </a:moveTo>
                <a:lnTo>
                  <a:pt x="568402" y="223416"/>
                </a:lnTo>
                <a:lnTo>
                  <a:pt x="681579" y="223416"/>
                </a:lnTo>
                <a:close/>
                <a:moveTo>
                  <a:pt x="401937" y="75480"/>
                </a:moveTo>
                <a:cubicBezTo>
                  <a:pt x="430703" y="74626"/>
                  <a:pt x="459627" y="77574"/>
                  <a:pt x="487921" y="84401"/>
                </a:cubicBezTo>
                <a:lnTo>
                  <a:pt x="452710" y="119154"/>
                </a:lnTo>
                <a:cubicBezTo>
                  <a:pt x="362168" y="106742"/>
                  <a:pt x="266596" y="136531"/>
                  <a:pt x="201204" y="211003"/>
                </a:cubicBezTo>
                <a:cubicBezTo>
                  <a:pt x="157820" y="259410"/>
                  <a:pt x="134241" y="318988"/>
                  <a:pt x="129407" y="379263"/>
                </a:cubicBezTo>
                <a:lnTo>
                  <a:pt x="130531" y="428398"/>
                </a:lnTo>
                <a:lnTo>
                  <a:pt x="176052" y="394700"/>
                </a:lnTo>
                <a:lnTo>
                  <a:pt x="198688" y="422006"/>
                </a:lnTo>
                <a:lnTo>
                  <a:pt x="98086" y="498960"/>
                </a:lnTo>
                <a:lnTo>
                  <a:pt x="22634" y="399665"/>
                </a:lnTo>
                <a:lnTo>
                  <a:pt x="50300" y="377323"/>
                </a:lnTo>
                <a:lnTo>
                  <a:pt x="87814" y="424448"/>
                </a:lnTo>
                <a:lnTo>
                  <a:pt x="84686" y="396291"/>
                </a:lnTo>
                <a:cubicBezTo>
                  <a:pt x="85040" y="320539"/>
                  <a:pt x="111920" y="245136"/>
                  <a:pt x="168509" y="183696"/>
                </a:cubicBezTo>
                <a:cubicBezTo>
                  <a:pt x="230757" y="114810"/>
                  <a:pt x="315640" y="78039"/>
                  <a:pt x="401937" y="75480"/>
                </a:cubicBezTo>
                <a:close/>
                <a:moveTo>
                  <a:pt x="626248" y="0"/>
                </a:moveTo>
                <a:lnTo>
                  <a:pt x="764576" y="273064"/>
                </a:lnTo>
                <a:lnTo>
                  <a:pt x="487920" y="273064"/>
                </a:lnTo>
                <a:close/>
              </a:path>
            </a:pathLst>
          </a:custGeom>
          <a:solidFill>
            <a:srgbClr val="EDEAEB"/>
          </a:solidFill>
          <a:ln w="27940" cap="flat">
            <a:noFill/>
            <a:prstDash val="solid"/>
            <a:miter/>
          </a:ln>
        </p:spPr>
        <p:txBody>
          <a:bodyPr wrap="square" rtlCol="0" anchor="ctr">
            <a:noAutofit/>
          </a:bodyPr>
          <a:lstStyle/>
          <a:p>
            <a:pPr>
              <a:lnSpc>
                <a:spcPct val="90000"/>
              </a:lnSpc>
            </a:pPr>
            <a:endParaRPr lang="en-US" sz="600"/>
          </a:p>
        </p:txBody>
      </p:sp>
      <p:sp>
        <p:nvSpPr>
          <p:cNvPr id="17" name="TextBox 16">
            <a:extLst>
              <a:ext uri="{FF2B5EF4-FFF2-40B4-BE49-F238E27FC236}">
                <a16:creationId xmlns:a16="http://schemas.microsoft.com/office/drawing/2014/main" id="{58150A26-CB7D-EE0E-7124-D31EB7E25594}"/>
              </a:ext>
            </a:extLst>
          </p:cNvPr>
          <p:cNvSpPr txBox="1"/>
          <p:nvPr/>
        </p:nvSpPr>
        <p:spPr>
          <a:xfrm>
            <a:off x="7897977" y="3815080"/>
            <a:ext cx="4179176" cy="2505301"/>
          </a:xfrm>
          <a:prstGeom prst="rect">
            <a:avLst/>
          </a:prstGeom>
          <a:noFill/>
        </p:spPr>
        <p:txBody>
          <a:bodyPr wrap="square" lIns="91440" tIns="45720" rIns="91440" bIns="45720" anchor="t">
            <a:spAutoFit/>
          </a:bodyPr>
          <a:lstStyle/>
          <a:p>
            <a:pPr algn="l">
              <a:lnSpc>
                <a:spcPct val="90000"/>
              </a:lnSpc>
              <a:spcBef>
                <a:spcPts val="600"/>
              </a:spcBef>
            </a:pPr>
            <a:r>
              <a:rPr lang="en-US" b="1" i="0" u="none" strike="noStrike" kern="1200" dirty="0">
                <a:solidFill>
                  <a:schemeClr val="tx2"/>
                </a:solidFill>
                <a:effectLst/>
                <a:latin typeface="+mj-lt"/>
                <a:ea typeface="+mn-ea"/>
                <a:cs typeface="+mn-cs"/>
              </a:rPr>
              <a:t>4. How should marketing adapt to the shift from </a:t>
            </a:r>
            <a:r>
              <a:rPr lang="en-US" b="1" dirty="0">
                <a:solidFill>
                  <a:schemeClr val="tx2"/>
                </a:solidFill>
                <a:latin typeface="+mj-lt"/>
              </a:rPr>
              <a:t>B&amp;M</a:t>
            </a:r>
            <a:r>
              <a:rPr lang="en-US" b="1" i="0" u="none" strike="noStrike" kern="1200" dirty="0">
                <a:solidFill>
                  <a:schemeClr val="tx2"/>
                </a:solidFill>
                <a:effectLst/>
                <a:latin typeface="+mj-lt"/>
                <a:ea typeface="+mn-ea"/>
                <a:cs typeface="+mn-cs"/>
              </a:rPr>
              <a:t> to E-Commerce?</a:t>
            </a:r>
          </a:p>
          <a:p>
            <a:pPr algn="l">
              <a:lnSpc>
                <a:spcPct val="90000"/>
              </a:lnSpc>
              <a:spcBef>
                <a:spcPts val="600"/>
              </a:spcBef>
            </a:pPr>
            <a:endParaRPr lang="en-US" sz="2000" b="1" i="0" u="none" strike="noStrike" kern="1200" dirty="0">
              <a:solidFill>
                <a:schemeClr val="tx2"/>
              </a:solidFill>
              <a:effectLst/>
              <a:latin typeface="+mj-lt"/>
              <a:ea typeface="+mn-ea"/>
              <a:cs typeface="+mn-cs"/>
            </a:endParaRPr>
          </a:p>
          <a:p>
            <a:pPr marL="152400" indent="-152400">
              <a:lnSpc>
                <a:spcPct val="90000"/>
              </a:lnSpc>
              <a:spcBef>
                <a:spcPts val="600"/>
              </a:spcBef>
              <a:buClr>
                <a:srgbClr val="161616"/>
              </a:buClr>
              <a:buSzPct val="100000"/>
              <a:buFont typeface="Arial" panose="020B0604020202020204" pitchFamily="34" charset="0"/>
              <a:buChar char="–"/>
              <a:defRPr/>
            </a:pPr>
            <a:r>
              <a:rPr lang="en-US" sz="1600" dirty="0">
                <a:solidFill>
                  <a:srgbClr val="1E1E1E">
                    <a:lumMod val="75000"/>
                  </a:srgbClr>
                </a:solidFill>
                <a:latin typeface="+mj-lt"/>
              </a:rPr>
              <a:t>Need strategies to address shift toward private labels and other categories</a:t>
            </a:r>
          </a:p>
          <a:p>
            <a:pPr marL="152400" indent="-152400">
              <a:lnSpc>
                <a:spcPct val="90000"/>
              </a:lnSpc>
              <a:spcBef>
                <a:spcPts val="600"/>
              </a:spcBef>
              <a:buClr>
                <a:srgbClr val="161616"/>
              </a:buClr>
              <a:buSzPct val="100000"/>
              <a:buFont typeface="Arial" panose="020B0604020202020204" pitchFamily="34" charset="0"/>
              <a:buChar char="–"/>
              <a:defRPr/>
            </a:pPr>
            <a:r>
              <a:rPr lang="en-US" sz="1600" dirty="0">
                <a:solidFill>
                  <a:srgbClr val="1E1E1E">
                    <a:lumMod val="75000"/>
                  </a:srgbClr>
                </a:solidFill>
                <a:latin typeface="+mj-lt"/>
              </a:rPr>
              <a:t>Must adapt to growing share of E – commerce platforms</a:t>
            </a:r>
          </a:p>
          <a:p>
            <a:pPr marL="152400" indent="-152400">
              <a:lnSpc>
                <a:spcPct val="90000"/>
              </a:lnSpc>
              <a:spcBef>
                <a:spcPts val="600"/>
              </a:spcBef>
              <a:buClr>
                <a:srgbClr val="161616"/>
              </a:buClr>
              <a:buSzPct val="100000"/>
              <a:buFont typeface="Arial" panose="020B0604020202020204" pitchFamily="34" charset="0"/>
              <a:buChar char="–"/>
              <a:defRPr/>
            </a:pPr>
            <a:r>
              <a:rPr lang="en-US" sz="1600" dirty="0">
                <a:solidFill>
                  <a:srgbClr val="1E1E1E"/>
                </a:solidFill>
                <a:latin typeface="+mj-lt"/>
              </a:rPr>
              <a:t>Focus on restoring volume, attracting new users, and retaining current consumers</a:t>
            </a:r>
            <a:endParaRPr lang="en-US" sz="1600" dirty="0">
              <a:solidFill>
                <a:srgbClr val="1E1E1E"/>
              </a:solidFill>
              <a:latin typeface="+mj-lt"/>
              <a:cs typeface="Arial"/>
            </a:endParaRPr>
          </a:p>
        </p:txBody>
      </p:sp>
      <p:sp>
        <p:nvSpPr>
          <p:cNvPr id="3" name="TextBox 2">
            <a:extLst>
              <a:ext uri="{FF2B5EF4-FFF2-40B4-BE49-F238E27FC236}">
                <a16:creationId xmlns:a16="http://schemas.microsoft.com/office/drawing/2014/main" id="{4D2FDF06-C59F-5FA0-2096-9D4CB5A1177A}"/>
              </a:ext>
            </a:extLst>
          </p:cNvPr>
          <p:cNvSpPr txBox="1"/>
          <p:nvPr/>
        </p:nvSpPr>
        <p:spPr>
          <a:xfrm>
            <a:off x="3581400" y="6248400"/>
            <a:ext cx="8378825" cy="381000"/>
          </a:xfrm>
          <a:prstGeom prst="rect">
            <a:avLst/>
          </a:prstGeom>
          <a:noFill/>
        </p:spPr>
        <p:txBody>
          <a:bodyPr wrap="square" lIns="0" tIns="0" rIns="0" bIns="0" anchor="b" anchorCtr="0">
            <a:noAutofit/>
          </a:bodyPr>
          <a:lstStyle/>
          <a:p>
            <a:pPr marL="0" marR="0" lvl="0" indent="0" defTabSz="914400" rtl="0" eaLnBrk="1" fontAlgn="auto" latinLnBrk="0" hangingPunct="1">
              <a:lnSpc>
                <a:spcPct val="90000"/>
              </a:lnSpc>
              <a:buClrTx/>
              <a:buSzTx/>
              <a:tabLst/>
              <a:defRPr/>
            </a:pPr>
            <a:r>
              <a:rPr kumimoji="0" lang="en-US" sz="700" u="none" strike="noStrike" kern="1200" cap="none" normalizeH="0" baseline="0" noProof="0">
                <a:ln>
                  <a:noFill/>
                </a:ln>
                <a:effectLst/>
                <a:uLnTx/>
                <a:uFillTx/>
                <a:latin typeface="Arial" panose="020B0604020202020204" pitchFamily="34" charset="0"/>
                <a:ea typeface="+mn-ea"/>
                <a:cs typeface="+mn-cs"/>
              </a:rPr>
              <a:t>Source: Kearney</a:t>
            </a:r>
          </a:p>
        </p:txBody>
      </p:sp>
    </p:spTree>
    <p:extLst>
      <p:ext uri="{BB962C8B-B14F-4D97-AF65-F5344CB8AC3E}">
        <p14:creationId xmlns:p14="http://schemas.microsoft.com/office/powerpoint/2010/main" val="758295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Process0">
            <a:extLst>
              <a:ext uri="{FF2B5EF4-FFF2-40B4-BE49-F238E27FC236}">
                <a16:creationId xmlns:a16="http://schemas.microsoft.com/office/drawing/2014/main" id="{58895593-BB4C-F5BF-241A-6A09E1971023}"/>
              </a:ext>
            </a:extLst>
          </p:cNvPr>
          <p:cNvSpPr/>
          <p:nvPr/>
        </p:nvSpPr>
        <p:spPr>
          <a:xfrm>
            <a:off x="3048000" y="4572000"/>
            <a:ext cx="9144000" cy="2286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381000" rtlCol="0" anchor="t">
            <a:noAutofit/>
          </a:bodyPr>
          <a:lstStyle/>
          <a:p>
            <a:pPr marL="0" marR="0" lvl="0" indent="0" algn="l" defTabSz="914400" rtl="0" eaLnBrk="1" fontAlgn="auto" latinLnBrk="0" hangingPunct="1">
              <a:lnSpc>
                <a:spcPct val="90000"/>
              </a:lnSpc>
              <a:spcBef>
                <a:spcPts val="300"/>
              </a:spcBef>
              <a:buClrTx/>
              <a:buSzTx/>
              <a:buFontTx/>
              <a:buNone/>
              <a:tabLst/>
              <a:defRPr/>
            </a:pPr>
            <a:endParaRPr kumimoji="0" lang="en-US" sz="1600" b="1" i="0" u="none" strike="noStrike" kern="1200" cap="none" spc="0" normalizeH="0" baseline="0" noProof="0">
              <a:ln>
                <a:noFill/>
              </a:ln>
              <a:solidFill>
                <a:srgbClr val="1E1E1E"/>
              </a:solidFill>
              <a:effectLst/>
              <a:uLnTx/>
              <a:uFillTx/>
              <a:latin typeface="+mj-lt"/>
              <a:ea typeface="+mn-ea"/>
              <a:cs typeface="+mn-cs"/>
            </a:endParaRPr>
          </a:p>
        </p:txBody>
      </p:sp>
      <p:sp>
        <p:nvSpPr>
          <p:cNvPr id="48" name="Process0">
            <a:extLst>
              <a:ext uri="{FF2B5EF4-FFF2-40B4-BE49-F238E27FC236}">
                <a16:creationId xmlns:a16="http://schemas.microsoft.com/office/drawing/2014/main" id="{E9DDFDC1-9983-7215-5115-2E975B426FF4}"/>
              </a:ext>
            </a:extLst>
          </p:cNvPr>
          <p:cNvSpPr/>
          <p:nvPr/>
        </p:nvSpPr>
        <p:spPr>
          <a:xfrm>
            <a:off x="7620000" y="2286000"/>
            <a:ext cx="4572000" cy="2286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381000" rtlCol="0" anchor="t">
            <a:noAutofit/>
          </a:bodyPr>
          <a:lstStyle/>
          <a:p>
            <a:pPr marR="0" lvl="0" indent="0" fontAlgn="auto">
              <a:lnSpc>
                <a:spcPct val="90000"/>
              </a:lnSpc>
              <a:spcBef>
                <a:spcPts val="300"/>
              </a:spcBef>
              <a:buClrTx/>
              <a:buSzTx/>
              <a:buFontTx/>
              <a:buNone/>
              <a:tabLst/>
              <a:defRPr/>
            </a:pPr>
            <a:endParaRPr kumimoji="0" lang="en-US" sz="1400" b="0" i="0" u="none" strike="noStrike" kern="1200" cap="none" spc="0" normalizeH="0" baseline="0" noProof="0">
              <a:ln>
                <a:noFill/>
              </a:ln>
              <a:solidFill>
                <a:srgbClr val="1E1E1E"/>
              </a:solidFill>
              <a:effectLst/>
              <a:uLnTx/>
              <a:uFillTx/>
              <a:latin typeface="+mj-lt"/>
              <a:ea typeface="+mn-ea"/>
              <a:cs typeface="+mn-cs"/>
            </a:endParaRPr>
          </a:p>
        </p:txBody>
      </p:sp>
      <p:sp>
        <p:nvSpPr>
          <p:cNvPr id="47" name="Process0">
            <a:extLst>
              <a:ext uri="{FF2B5EF4-FFF2-40B4-BE49-F238E27FC236}">
                <a16:creationId xmlns:a16="http://schemas.microsoft.com/office/drawing/2014/main" id="{E9D970DB-4EF4-9790-ADE7-1C8170600B54}"/>
              </a:ext>
            </a:extLst>
          </p:cNvPr>
          <p:cNvSpPr/>
          <p:nvPr/>
        </p:nvSpPr>
        <p:spPr>
          <a:xfrm>
            <a:off x="7620000" y="0"/>
            <a:ext cx="4572000" cy="2286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381000" rtlCol="0" anchor="t">
            <a:noAutofit/>
          </a:bodyPr>
          <a:lstStyle/>
          <a:p>
            <a:pPr>
              <a:lnSpc>
                <a:spcPct val="90000"/>
              </a:lnSpc>
              <a:spcBef>
                <a:spcPts val="300"/>
              </a:spcBef>
            </a:pPr>
            <a:endParaRPr kumimoji="0" lang="en-US" sz="1400" b="0" i="0" u="none" strike="noStrike" kern="1200" cap="none" spc="0" normalizeH="0" baseline="0" noProof="0">
              <a:ln>
                <a:noFill/>
              </a:ln>
              <a:solidFill>
                <a:srgbClr val="1E1E1E"/>
              </a:solidFill>
              <a:effectLst/>
              <a:uLnTx/>
              <a:uFillTx/>
              <a:latin typeface="+mj-lt"/>
              <a:ea typeface="+mn-ea"/>
              <a:cs typeface="+mn-cs"/>
            </a:endParaRPr>
          </a:p>
        </p:txBody>
      </p:sp>
      <p:sp>
        <p:nvSpPr>
          <p:cNvPr id="46" name="Process0">
            <a:extLst>
              <a:ext uri="{FF2B5EF4-FFF2-40B4-BE49-F238E27FC236}">
                <a16:creationId xmlns:a16="http://schemas.microsoft.com/office/drawing/2014/main" id="{302C5FAF-49F8-487B-BF44-181001F53041}"/>
              </a:ext>
            </a:extLst>
          </p:cNvPr>
          <p:cNvSpPr/>
          <p:nvPr/>
        </p:nvSpPr>
        <p:spPr>
          <a:xfrm>
            <a:off x="3048000" y="2286000"/>
            <a:ext cx="4572000" cy="2286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381000" rtlCol="0" anchor="t">
            <a:noAutofit/>
          </a:bodyPr>
          <a:lstStyle/>
          <a:p>
            <a:pPr marL="0" marR="0" lvl="0" indent="0" algn="l" defTabSz="887554" rtl="0" eaLnBrk="1" fontAlgn="auto" latinLnBrk="0" hangingPunct="1">
              <a:lnSpc>
                <a:spcPct val="90000"/>
              </a:lnSpc>
              <a:spcBef>
                <a:spcPts val="300"/>
              </a:spcBef>
              <a:buClrTx/>
              <a:buSzTx/>
              <a:buFontTx/>
              <a:buNone/>
              <a:tabLst/>
              <a:defRPr/>
            </a:pPr>
            <a:endParaRPr lang="en-US" sz="1600" b="0" i="1" u="none" strike="noStrike" kern="1200">
              <a:solidFill>
                <a:schemeClr val="tx1">
                  <a:lumMod val="75000"/>
                </a:schemeClr>
              </a:solidFill>
              <a:effectLst/>
              <a:latin typeface="+mj-lt"/>
              <a:ea typeface="+mn-ea"/>
              <a:cs typeface="+mn-cs"/>
            </a:endParaRPr>
          </a:p>
        </p:txBody>
      </p:sp>
      <p:sp>
        <p:nvSpPr>
          <p:cNvPr id="45" name="Process0">
            <a:extLst>
              <a:ext uri="{FF2B5EF4-FFF2-40B4-BE49-F238E27FC236}">
                <a16:creationId xmlns:a16="http://schemas.microsoft.com/office/drawing/2014/main" id="{12D826A2-C6BF-C5EE-C898-42B0FCEE9F6D}"/>
              </a:ext>
            </a:extLst>
          </p:cNvPr>
          <p:cNvSpPr/>
          <p:nvPr/>
        </p:nvSpPr>
        <p:spPr>
          <a:xfrm>
            <a:off x="3048000" y="0"/>
            <a:ext cx="4572000" cy="2286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381000" rtlCol="0" anchor="t">
            <a:noAutofit/>
          </a:bodyPr>
          <a:lstStyle/>
          <a:p>
            <a:pPr algn="l">
              <a:lnSpc>
                <a:spcPct val="90000"/>
              </a:lnSpc>
              <a:spcBef>
                <a:spcPts val="300"/>
              </a:spcBef>
            </a:pPr>
            <a:endParaRPr kumimoji="0" lang="en-US" sz="1400" b="0" i="0" u="none" strike="noStrike" kern="1200" cap="none" spc="0" normalizeH="0" baseline="0" noProof="0">
              <a:ln>
                <a:noFill/>
              </a:ln>
              <a:solidFill>
                <a:srgbClr val="1E1E1E">
                  <a:lumMod val="75000"/>
                </a:srgbClr>
              </a:solidFill>
              <a:effectLst/>
              <a:uLnTx/>
              <a:uFillTx/>
              <a:latin typeface="+mj-lt"/>
              <a:ea typeface="+mn-ea"/>
              <a:cs typeface="+mn-cs"/>
            </a:endParaRPr>
          </a:p>
        </p:txBody>
      </p:sp>
      <p:graphicFrame>
        <p:nvGraphicFramePr>
          <p:cNvPr id="4" name="think-cell data - do not delete" hidden="1">
            <a:extLst>
              <a:ext uri="{FF2B5EF4-FFF2-40B4-BE49-F238E27FC236}">
                <a16:creationId xmlns:a16="http://schemas.microsoft.com/office/drawing/2014/main" id="{A5710FF2-C436-ABA3-6E71-3F251294024F}"/>
              </a:ext>
            </a:extLst>
          </p:cNvPr>
          <p:cNvGraphicFramePr>
            <a:graphicFrameLocks noChangeAspect="1"/>
          </p:cNvGraphicFramePr>
          <p:nvPr>
            <p:custDataLst>
              <p:tags r:id="rId1"/>
            </p:custDataLst>
            <p:extLst>
              <p:ext uri="{D42A27DB-BD31-4B8C-83A1-F6EECF244321}">
                <p14:modId xmlns:p14="http://schemas.microsoft.com/office/powerpoint/2010/main" val="3953180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A5710FF2-C436-ABA3-6E71-3F25129402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20EB5F-2087-6542-7E20-2EA8A2076085}"/>
              </a:ext>
            </a:extLst>
          </p:cNvPr>
          <p:cNvSpPr>
            <a:spLocks noGrp="1"/>
          </p:cNvSpPr>
          <p:nvPr>
            <p:ph type="title"/>
          </p:nvPr>
        </p:nvSpPr>
        <p:spPr/>
        <p:txBody>
          <a:bodyPr vert="horz"/>
          <a:lstStyle/>
          <a:p>
            <a:r>
              <a:rPr lang="en-US"/>
              <a:t>Executive Summary</a:t>
            </a:r>
            <a:br>
              <a:rPr lang="en-US"/>
            </a:br>
            <a:endParaRPr lang="en-US"/>
          </a:p>
        </p:txBody>
      </p:sp>
      <p:sp>
        <p:nvSpPr>
          <p:cNvPr id="6" name="TextBox 5">
            <a:extLst>
              <a:ext uri="{FF2B5EF4-FFF2-40B4-BE49-F238E27FC236}">
                <a16:creationId xmlns:a16="http://schemas.microsoft.com/office/drawing/2014/main" id="{8390A95C-4604-26D4-7BF2-2ADEA391CBE4}"/>
              </a:ext>
            </a:extLst>
          </p:cNvPr>
          <p:cNvSpPr txBox="1"/>
          <p:nvPr/>
        </p:nvSpPr>
        <p:spPr>
          <a:xfrm>
            <a:off x="3429000" y="6096000"/>
            <a:ext cx="8378825" cy="381000"/>
          </a:xfrm>
          <a:prstGeom prst="rect">
            <a:avLst/>
          </a:prstGeom>
          <a:noFill/>
        </p:spPr>
        <p:txBody>
          <a:bodyPr wrap="square" lIns="0" tIns="0" rIns="0" bIns="0" anchor="b" anchorCtr="0">
            <a:noAutofit/>
          </a:bodyPr>
          <a:lstStyle/>
          <a:p>
            <a:pPr marL="0" marR="0" lvl="0" indent="0" defTabSz="914400" rtl="0" eaLnBrk="1" fontAlgn="auto" latinLnBrk="0" hangingPunct="1">
              <a:lnSpc>
                <a:spcPct val="90000"/>
              </a:lnSpc>
              <a:buClrTx/>
              <a:buSzTx/>
              <a:tabLst/>
              <a:defRPr/>
            </a:pPr>
            <a:r>
              <a:rPr kumimoji="0" lang="en-US" sz="700" u="none" strike="noStrike" kern="1200" cap="none" normalizeH="0" baseline="0" noProof="0">
                <a:ln>
                  <a:noFill/>
                </a:ln>
                <a:effectLst/>
                <a:uLnTx/>
                <a:uFillTx/>
                <a:latin typeface="Arial" panose="020B0604020202020204" pitchFamily="34" charset="0"/>
                <a:ea typeface="+mn-ea"/>
                <a:cs typeface="+mn-cs"/>
              </a:rPr>
              <a:t>Source: Kearney</a:t>
            </a:r>
          </a:p>
        </p:txBody>
      </p:sp>
      <p:pic>
        <p:nvPicPr>
          <p:cNvPr id="51" name="Graphic 50">
            <a:extLst>
              <a:ext uri="{FF2B5EF4-FFF2-40B4-BE49-F238E27FC236}">
                <a16:creationId xmlns:a16="http://schemas.microsoft.com/office/drawing/2014/main" id="{6DACF955-6B60-7FEC-AB74-2B284DDAFA7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995102" y="5661102"/>
            <a:ext cx="1196898" cy="1196898"/>
          </a:xfrm>
          <a:prstGeom prst="rect">
            <a:avLst/>
          </a:prstGeom>
        </p:spPr>
      </p:pic>
      <p:pic>
        <p:nvPicPr>
          <p:cNvPr id="52" name="Graphic 51">
            <a:extLst>
              <a:ext uri="{FF2B5EF4-FFF2-40B4-BE49-F238E27FC236}">
                <a16:creationId xmlns:a16="http://schemas.microsoft.com/office/drawing/2014/main" id="{81DCE29F-ED74-8E6C-CCE8-D38BB9EB7D6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423102" y="1089102"/>
            <a:ext cx="1196898" cy="1196898"/>
          </a:xfrm>
          <a:prstGeom prst="rect">
            <a:avLst/>
          </a:prstGeom>
        </p:spPr>
      </p:pic>
      <p:pic>
        <p:nvPicPr>
          <p:cNvPr id="53" name="Graphic 52">
            <a:extLst>
              <a:ext uri="{FF2B5EF4-FFF2-40B4-BE49-F238E27FC236}">
                <a16:creationId xmlns:a16="http://schemas.microsoft.com/office/drawing/2014/main" id="{0F5E633A-D322-8F5E-9E99-D01F017B86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95102" y="1089102"/>
            <a:ext cx="1196898" cy="1196898"/>
          </a:xfrm>
          <a:prstGeom prst="rect">
            <a:avLst/>
          </a:prstGeom>
        </p:spPr>
      </p:pic>
      <p:grpSp>
        <p:nvGrpSpPr>
          <p:cNvPr id="54" name="Group 53">
            <a:extLst>
              <a:ext uri="{FF2B5EF4-FFF2-40B4-BE49-F238E27FC236}">
                <a16:creationId xmlns:a16="http://schemas.microsoft.com/office/drawing/2014/main" id="{085FC04F-8E52-4909-FAD2-701A6AD2EF6A}"/>
              </a:ext>
            </a:extLst>
          </p:cNvPr>
          <p:cNvGrpSpPr>
            <a:grpSpLocks noChangeAspect="1"/>
          </p:cNvGrpSpPr>
          <p:nvPr/>
        </p:nvGrpSpPr>
        <p:grpSpPr>
          <a:xfrm>
            <a:off x="6423102" y="3375102"/>
            <a:ext cx="1196898" cy="1196898"/>
            <a:chOff x="9536532" y="3812177"/>
            <a:chExt cx="759618" cy="666750"/>
          </a:xfrm>
          <a:solidFill>
            <a:schemeClr val="accent2">
              <a:lumMod val="60000"/>
              <a:lumOff val="40000"/>
            </a:schemeClr>
          </a:solidFill>
        </p:grpSpPr>
        <p:sp>
          <p:nvSpPr>
            <p:cNvPr id="55" name="Freeform: Shape 33">
              <a:extLst>
                <a:ext uri="{FF2B5EF4-FFF2-40B4-BE49-F238E27FC236}">
                  <a16:creationId xmlns:a16="http://schemas.microsoft.com/office/drawing/2014/main" id="{DECE87F4-50F3-8DBC-7702-9D97F7456E21}"/>
                </a:ext>
              </a:extLst>
            </p:cNvPr>
            <p:cNvSpPr/>
            <p:nvPr/>
          </p:nvSpPr>
          <p:spPr>
            <a:xfrm>
              <a:off x="9536532" y="3812177"/>
              <a:ext cx="402431" cy="238125"/>
            </a:xfrm>
            <a:custGeom>
              <a:avLst/>
              <a:gdLst>
                <a:gd name="connsiteX0" fmla="*/ 283369 w 402431"/>
                <a:gd name="connsiteY0" fmla="*/ 0 h 238125"/>
                <a:gd name="connsiteX1" fmla="*/ 216694 w 402431"/>
                <a:gd name="connsiteY1" fmla="*/ 0 h 238125"/>
                <a:gd name="connsiteX2" fmla="*/ 311944 w 402431"/>
                <a:gd name="connsiteY2" fmla="*/ 95250 h 238125"/>
                <a:gd name="connsiteX3" fmla="*/ 0 w 402431"/>
                <a:gd name="connsiteY3" fmla="*/ 95250 h 238125"/>
                <a:gd name="connsiteX4" fmla="*/ 0 w 402431"/>
                <a:gd name="connsiteY4" fmla="*/ 142875 h 238125"/>
                <a:gd name="connsiteX5" fmla="*/ 311944 w 402431"/>
                <a:gd name="connsiteY5" fmla="*/ 142875 h 238125"/>
                <a:gd name="connsiteX6" fmla="*/ 216694 w 402431"/>
                <a:gd name="connsiteY6" fmla="*/ 238125 h 238125"/>
                <a:gd name="connsiteX7" fmla="*/ 283369 w 402431"/>
                <a:gd name="connsiteY7" fmla="*/ 238125 h 238125"/>
                <a:gd name="connsiteX8" fmla="*/ 402431 w 402431"/>
                <a:gd name="connsiteY8" fmla="*/ 1190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2431" h="238125">
                  <a:moveTo>
                    <a:pt x="283369" y="0"/>
                  </a:moveTo>
                  <a:lnTo>
                    <a:pt x="216694" y="0"/>
                  </a:lnTo>
                  <a:lnTo>
                    <a:pt x="311944" y="95250"/>
                  </a:lnTo>
                  <a:lnTo>
                    <a:pt x="0" y="95250"/>
                  </a:lnTo>
                  <a:lnTo>
                    <a:pt x="0" y="142875"/>
                  </a:lnTo>
                  <a:lnTo>
                    <a:pt x="311944" y="142875"/>
                  </a:lnTo>
                  <a:lnTo>
                    <a:pt x="216694" y="238125"/>
                  </a:lnTo>
                  <a:lnTo>
                    <a:pt x="283369" y="238125"/>
                  </a:lnTo>
                  <a:lnTo>
                    <a:pt x="402431" y="119063"/>
                  </a:lnTo>
                  <a:close/>
                </a:path>
              </a:pathLst>
            </a:custGeom>
            <a:grpFill/>
            <a:ln w="238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56" name="Freeform: Shape 34">
              <a:extLst>
                <a:ext uri="{FF2B5EF4-FFF2-40B4-BE49-F238E27FC236}">
                  <a16:creationId xmlns:a16="http://schemas.microsoft.com/office/drawing/2014/main" id="{F371D808-B6A5-CC71-4E95-70107F5EFFF3}"/>
                </a:ext>
              </a:extLst>
            </p:cNvPr>
            <p:cNvSpPr/>
            <p:nvPr/>
          </p:nvSpPr>
          <p:spPr>
            <a:xfrm>
              <a:off x="9536532" y="4026489"/>
              <a:ext cx="759618" cy="238125"/>
            </a:xfrm>
            <a:custGeom>
              <a:avLst/>
              <a:gdLst>
                <a:gd name="connsiteX0" fmla="*/ 640556 w 759618"/>
                <a:gd name="connsiteY0" fmla="*/ 0 h 238125"/>
                <a:gd name="connsiteX1" fmla="*/ 573881 w 759618"/>
                <a:gd name="connsiteY1" fmla="*/ 0 h 238125"/>
                <a:gd name="connsiteX2" fmla="*/ 669131 w 759618"/>
                <a:gd name="connsiteY2" fmla="*/ 95250 h 238125"/>
                <a:gd name="connsiteX3" fmla="*/ 0 w 759618"/>
                <a:gd name="connsiteY3" fmla="*/ 95250 h 238125"/>
                <a:gd name="connsiteX4" fmla="*/ 0 w 759618"/>
                <a:gd name="connsiteY4" fmla="*/ 142875 h 238125"/>
                <a:gd name="connsiteX5" fmla="*/ 669131 w 759618"/>
                <a:gd name="connsiteY5" fmla="*/ 142875 h 238125"/>
                <a:gd name="connsiteX6" fmla="*/ 573881 w 759618"/>
                <a:gd name="connsiteY6" fmla="*/ 238125 h 238125"/>
                <a:gd name="connsiteX7" fmla="*/ 640556 w 759618"/>
                <a:gd name="connsiteY7" fmla="*/ 238125 h 238125"/>
                <a:gd name="connsiteX8" fmla="*/ 759619 w 759618"/>
                <a:gd name="connsiteY8" fmla="*/ 1190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9618" h="238125">
                  <a:moveTo>
                    <a:pt x="640556" y="0"/>
                  </a:moveTo>
                  <a:lnTo>
                    <a:pt x="573881" y="0"/>
                  </a:lnTo>
                  <a:lnTo>
                    <a:pt x="669131" y="95250"/>
                  </a:lnTo>
                  <a:lnTo>
                    <a:pt x="0" y="95250"/>
                  </a:lnTo>
                  <a:lnTo>
                    <a:pt x="0" y="142875"/>
                  </a:lnTo>
                  <a:lnTo>
                    <a:pt x="669131" y="142875"/>
                  </a:lnTo>
                  <a:lnTo>
                    <a:pt x="573881" y="238125"/>
                  </a:lnTo>
                  <a:lnTo>
                    <a:pt x="640556" y="238125"/>
                  </a:lnTo>
                  <a:lnTo>
                    <a:pt x="759619" y="119063"/>
                  </a:lnTo>
                  <a:close/>
                </a:path>
              </a:pathLst>
            </a:custGeom>
            <a:grpFill/>
            <a:ln w="238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57" name="Freeform: Shape 35">
              <a:extLst>
                <a:ext uri="{FF2B5EF4-FFF2-40B4-BE49-F238E27FC236}">
                  <a16:creationId xmlns:a16="http://schemas.microsoft.com/office/drawing/2014/main" id="{5C50CAD1-6A1E-1167-19E1-26BF45112A4B}"/>
                </a:ext>
              </a:extLst>
            </p:cNvPr>
            <p:cNvSpPr/>
            <p:nvPr/>
          </p:nvSpPr>
          <p:spPr>
            <a:xfrm>
              <a:off x="9536532" y="4240802"/>
              <a:ext cx="545306" cy="238125"/>
            </a:xfrm>
            <a:custGeom>
              <a:avLst/>
              <a:gdLst>
                <a:gd name="connsiteX0" fmla="*/ 426244 w 545306"/>
                <a:gd name="connsiteY0" fmla="*/ 0 h 238125"/>
                <a:gd name="connsiteX1" fmla="*/ 359569 w 545306"/>
                <a:gd name="connsiteY1" fmla="*/ 0 h 238125"/>
                <a:gd name="connsiteX2" fmla="*/ 454819 w 545306"/>
                <a:gd name="connsiteY2" fmla="*/ 95250 h 238125"/>
                <a:gd name="connsiteX3" fmla="*/ 0 w 545306"/>
                <a:gd name="connsiteY3" fmla="*/ 95250 h 238125"/>
                <a:gd name="connsiteX4" fmla="*/ 0 w 545306"/>
                <a:gd name="connsiteY4" fmla="*/ 142875 h 238125"/>
                <a:gd name="connsiteX5" fmla="*/ 454819 w 545306"/>
                <a:gd name="connsiteY5" fmla="*/ 142875 h 238125"/>
                <a:gd name="connsiteX6" fmla="*/ 359569 w 545306"/>
                <a:gd name="connsiteY6" fmla="*/ 238125 h 238125"/>
                <a:gd name="connsiteX7" fmla="*/ 426244 w 545306"/>
                <a:gd name="connsiteY7" fmla="*/ 238125 h 238125"/>
                <a:gd name="connsiteX8" fmla="*/ 545306 w 545306"/>
                <a:gd name="connsiteY8" fmla="*/ 11906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06" h="238125">
                  <a:moveTo>
                    <a:pt x="426244" y="0"/>
                  </a:moveTo>
                  <a:lnTo>
                    <a:pt x="359569" y="0"/>
                  </a:lnTo>
                  <a:lnTo>
                    <a:pt x="454819" y="95250"/>
                  </a:lnTo>
                  <a:lnTo>
                    <a:pt x="0" y="95250"/>
                  </a:lnTo>
                  <a:lnTo>
                    <a:pt x="0" y="142875"/>
                  </a:lnTo>
                  <a:lnTo>
                    <a:pt x="454819" y="142875"/>
                  </a:lnTo>
                  <a:lnTo>
                    <a:pt x="359569" y="238125"/>
                  </a:lnTo>
                  <a:lnTo>
                    <a:pt x="426244" y="238125"/>
                  </a:lnTo>
                  <a:lnTo>
                    <a:pt x="545306" y="119063"/>
                  </a:lnTo>
                  <a:close/>
                </a:path>
              </a:pathLst>
            </a:custGeom>
            <a:grpFill/>
            <a:ln w="238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pic>
        <p:nvPicPr>
          <p:cNvPr id="58" name="Graphic 57">
            <a:extLst>
              <a:ext uri="{FF2B5EF4-FFF2-40B4-BE49-F238E27FC236}">
                <a16:creationId xmlns:a16="http://schemas.microsoft.com/office/drawing/2014/main" id="{55E1214C-D711-A418-1718-6AB943F703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995102" y="3375102"/>
            <a:ext cx="1196898" cy="1196898"/>
          </a:xfrm>
          <a:prstGeom prst="rect">
            <a:avLst/>
          </a:prstGeom>
        </p:spPr>
      </p:pic>
      <p:sp>
        <p:nvSpPr>
          <p:cNvPr id="66" name="Process0">
            <a:extLst>
              <a:ext uri="{FF2B5EF4-FFF2-40B4-BE49-F238E27FC236}">
                <a16:creationId xmlns:a16="http://schemas.microsoft.com/office/drawing/2014/main" id="{62E0CDAA-9729-68BB-B900-7CF61C051251}"/>
              </a:ext>
            </a:extLst>
          </p:cNvPr>
          <p:cNvSpPr/>
          <p:nvPr/>
        </p:nvSpPr>
        <p:spPr>
          <a:xfrm>
            <a:off x="3048000" y="4572000"/>
            <a:ext cx="9144000" cy="228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81000" tIns="274320" rIns="381000" bIns="274320" rtlCol="0" anchor="t">
            <a:noAutofit/>
          </a:bodyPr>
          <a:lstStyle/>
          <a:p>
            <a:pPr marR="0" lvl="0" indent="0" fontAlgn="auto">
              <a:lnSpc>
                <a:spcPct val="90000"/>
              </a:lnSpc>
              <a:spcBef>
                <a:spcPts val="600"/>
              </a:spcBef>
              <a:buClrTx/>
              <a:buSzTx/>
              <a:buFontTx/>
              <a:buNone/>
              <a:tabLst/>
              <a:defRPr/>
            </a:pPr>
            <a:r>
              <a:rPr lang="en-US" sz="1600" b="1" dirty="0">
                <a:solidFill>
                  <a:schemeClr val="tx2"/>
                </a:solidFill>
                <a:latin typeface="+mj-lt"/>
              </a:rPr>
              <a:t>Brand Strategy &amp; New User Acquisition</a:t>
            </a:r>
          </a:p>
          <a:p>
            <a:pPr marL="0" marR="0" lvl="0" indent="0" algn="l" defTabSz="914400" rtl="0" eaLnBrk="1" fontAlgn="auto" latinLnBrk="0" hangingPunct="1">
              <a:lnSpc>
                <a:spcPct val="90000"/>
              </a:lnSpc>
              <a:spcBef>
                <a:spcPts val="600"/>
              </a:spcBef>
              <a:buClrTx/>
              <a:buSzTx/>
              <a:buFontTx/>
              <a:buNone/>
              <a:tabLst/>
              <a:defRPr/>
            </a:pPr>
            <a:r>
              <a:rPr kumimoji="0" lang="en-US" sz="1400" b="0" i="1" u="none" strike="noStrike" kern="1200" cap="none" spc="0" normalizeH="0" baseline="0" noProof="0" dirty="0">
                <a:ln>
                  <a:noFill/>
                </a:ln>
                <a:solidFill>
                  <a:srgbClr val="1E1E1E"/>
                </a:solidFill>
                <a:effectLst/>
                <a:uLnTx/>
                <a:uFillTx/>
                <a:latin typeface="+mj-lt"/>
                <a:ea typeface="+mn-ea"/>
                <a:cs typeface="+mn-cs"/>
              </a:rPr>
              <a:t>Revitalize interest in </a:t>
            </a:r>
            <a:r>
              <a:rPr lang="en-US" sz="1400" i="1" dirty="0">
                <a:solidFill>
                  <a:srgbClr val="1E1E1E"/>
                </a:solidFill>
                <a:latin typeface="+mj-lt"/>
              </a:rPr>
              <a:t>target category</a:t>
            </a:r>
            <a:r>
              <a:rPr kumimoji="0" lang="en-US" sz="1400" b="0" i="1" u="none" strike="noStrike" kern="1200" cap="none" spc="0" normalizeH="0" baseline="0" noProof="0" dirty="0">
                <a:ln>
                  <a:noFill/>
                </a:ln>
                <a:solidFill>
                  <a:srgbClr val="1E1E1E"/>
                </a:solidFill>
                <a:effectLst/>
                <a:uLnTx/>
                <a:uFillTx/>
                <a:latin typeface="+mj-lt"/>
                <a:ea typeface="+mn-ea"/>
                <a:cs typeface="+mn-cs"/>
              </a:rPr>
              <a:t> through creative activation</a:t>
            </a:r>
          </a:p>
          <a:p>
            <a:pPr marL="152400" indent="-152400">
              <a:lnSpc>
                <a:spcPct val="90000"/>
              </a:lnSpc>
              <a:spcBef>
                <a:spcPts val="600"/>
              </a:spcBef>
              <a:buClr>
                <a:srgbClr val="000000"/>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Launch starter </a:t>
            </a:r>
            <a:r>
              <a:rPr lang="en-US" sz="1400" dirty="0">
                <a:solidFill>
                  <a:srgbClr val="1E1E1E"/>
                </a:solidFill>
                <a:latin typeface="+mj-lt"/>
              </a:rPr>
              <a:t>kits</a:t>
            </a:r>
            <a:r>
              <a:rPr kumimoji="0" lang="en-US" sz="1400" b="0" i="0" u="none" strike="noStrike" kern="1200" cap="none" spc="0" normalizeH="0" baseline="0" noProof="0" dirty="0">
                <a:ln>
                  <a:noFill/>
                </a:ln>
                <a:solidFill>
                  <a:srgbClr val="1E1E1E"/>
                </a:solidFill>
                <a:effectLst/>
                <a:uLnTx/>
                <a:uFillTx/>
                <a:latin typeface="+mj-lt"/>
                <a:ea typeface="+mn-ea"/>
                <a:cs typeface="+mn-cs"/>
              </a:rPr>
              <a:t> via social + influencers</a:t>
            </a:r>
            <a:endParaRPr lang="en-US" sz="1400" b="0" i="0" u="none" strike="noStrike" kern="1200" cap="none" spc="0" normalizeH="0" baseline="0" noProof="0" dirty="0">
              <a:ln>
                <a:noFill/>
              </a:ln>
              <a:solidFill>
                <a:srgbClr val="1E1E1E"/>
              </a:solidFill>
              <a:effectLst/>
              <a:uLnTx/>
              <a:uFillTx/>
              <a:latin typeface="+mj-lt"/>
              <a:cs typeface="Arial"/>
            </a:endParaRPr>
          </a:p>
          <a:p>
            <a:pPr marL="152400" indent="-152400">
              <a:lnSpc>
                <a:spcPct val="90000"/>
              </a:lnSpc>
              <a:spcBef>
                <a:spcPts val="600"/>
              </a:spcBef>
              <a:buClr>
                <a:srgbClr val="000000"/>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lumMod val="75000"/>
                  </a:srgbClr>
                </a:solidFill>
                <a:effectLst/>
                <a:uLnTx/>
                <a:uFillTx/>
                <a:latin typeface="+mj-lt"/>
                <a:ea typeface="+mn-ea"/>
                <a:cs typeface="+mn-cs"/>
              </a:rPr>
              <a:t>Run seasonal or thematic campaigns </a:t>
            </a:r>
          </a:p>
          <a:p>
            <a:pPr marL="152400" indent="-152400">
              <a:lnSpc>
                <a:spcPct val="90000"/>
              </a:lnSpc>
              <a:spcBef>
                <a:spcPts val="600"/>
              </a:spcBef>
              <a:buClr>
                <a:srgbClr val="000000"/>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Align new kits with beginner-friendly </a:t>
            </a:r>
            <a:r>
              <a:rPr lang="en-US" sz="1400" dirty="0">
                <a:solidFill>
                  <a:srgbClr val="1E1E1E"/>
                </a:solidFill>
                <a:latin typeface="+mj-lt"/>
              </a:rPr>
              <a:t>fast-moving goods</a:t>
            </a:r>
            <a:endParaRPr lang="en-US" sz="1400" b="0" i="0" u="none" strike="noStrike" kern="1200" cap="none" spc="0" normalizeH="0" baseline="0" noProof="0" dirty="0">
              <a:ln>
                <a:noFill/>
              </a:ln>
              <a:solidFill>
                <a:srgbClr val="1E1E1E"/>
              </a:solidFill>
              <a:effectLst/>
              <a:uLnTx/>
              <a:uFillTx/>
              <a:latin typeface="+mj-lt"/>
              <a:cs typeface="Arial"/>
            </a:endParaRPr>
          </a:p>
          <a:p>
            <a:pPr marL="0" marR="0" lvl="0" indent="0" algn="l" defTabSz="914400" rtl="0" eaLnBrk="1" fontAlgn="auto" latinLnBrk="0" hangingPunct="1">
              <a:lnSpc>
                <a:spcPct val="90000"/>
              </a:lnSpc>
              <a:spcBef>
                <a:spcPts val="600"/>
              </a:spcBef>
              <a:buClrTx/>
              <a:buSzTx/>
              <a:buFontTx/>
              <a:buNone/>
              <a:tabLst/>
              <a:defRPr/>
            </a:pPr>
            <a:endParaRPr kumimoji="0" lang="en-US" sz="1600" b="1" i="0" u="none" strike="noStrike" kern="1200" cap="none" spc="0" normalizeH="0" baseline="0" noProof="0" dirty="0">
              <a:ln>
                <a:noFill/>
              </a:ln>
              <a:solidFill>
                <a:srgbClr val="1E1E1E"/>
              </a:solidFill>
              <a:effectLst/>
              <a:uLnTx/>
              <a:uFillTx/>
              <a:latin typeface="+mj-lt"/>
              <a:ea typeface="+mn-ea"/>
              <a:cs typeface="+mn-cs"/>
            </a:endParaRPr>
          </a:p>
        </p:txBody>
      </p:sp>
      <p:sp>
        <p:nvSpPr>
          <p:cNvPr id="67" name="Process0">
            <a:extLst>
              <a:ext uri="{FF2B5EF4-FFF2-40B4-BE49-F238E27FC236}">
                <a16:creationId xmlns:a16="http://schemas.microsoft.com/office/drawing/2014/main" id="{63755F4D-AB5E-BC38-0003-D44403FC3D88}"/>
              </a:ext>
            </a:extLst>
          </p:cNvPr>
          <p:cNvSpPr/>
          <p:nvPr/>
        </p:nvSpPr>
        <p:spPr>
          <a:xfrm>
            <a:off x="7620000" y="2342685"/>
            <a:ext cx="4572000" cy="228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81000" tIns="274320" rIns="381000" bIns="274320" rtlCol="0" anchor="t">
            <a:noAutofit/>
          </a:bodyPr>
          <a:lstStyle/>
          <a:p>
            <a:pPr marR="0" lvl="0" indent="0" fontAlgn="auto">
              <a:lnSpc>
                <a:spcPct val="90000"/>
              </a:lnSpc>
              <a:spcBef>
                <a:spcPts val="600"/>
              </a:spcBef>
              <a:buClrTx/>
              <a:buSzTx/>
              <a:buFontTx/>
              <a:buNone/>
              <a:tabLst/>
              <a:defRPr/>
            </a:pPr>
            <a:r>
              <a:rPr lang="en-US" sz="1600" b="1" dirty="0">
                <a:solidFill>
                  <a:schemeClr val="tx2"/>
                </a:solidFill>
                <a:latin typeface="+mj-lt"/>
              </a:rPr>
              <a:t>E-Commerce Acceleration</a:t>
            </a:r>
          </a:p>
          <a:p>
            <a:pPr marL="0" marR="0" lvl="0" indent="0" algn="l" defTabSz="887554" rtl="0" eaLnBrk="1" fontAlgn="auto" latinLnBrk="0" hangingPunct="1">
              <a:lnSpc>
                <a:spcPct val="90000"/>
              </a:lnSpc>
              <a:spcBef>
                <a:spcPts val="600"/>
              </a:spcBef>
              <a:buClrTx/>
              <a:buSzTx/>
              <a:buFontTx/>
              <a:buNone/>
              <a:tabLst/>
              <a:defRPr/>
            </a:pPr>
            <a:r>
              <a:rPr lang="en-US" sz="1400" b="0" i="1" dirty="0">
                <a:solidFill>
                  <a:schemeClr val="tx1"/>
                </a:solidFill>
                <a:latin typeface="+mj-lt"/>
              </a:rPr>
              <a:t>Grow E-commerce share and drive digital-first discovery</a:t>
            </a:r>
            <a:endParaRPr lang="en-US" sz="1400" b="0" dirty="0">
              <a:solidFill>
                <a:schemeClr val="tx1"/>
              </a:solidFill>
              <a:latin typeface="+mj-lt"/>
            </a:endParaRPr>
          </a:p>
          <a:p>
            <a:pPr marL="152400" indent="-152400">
              <a:lnSpc>
                <a:spcPct val="90000"/>
              </a:lnSpc>
              <a:spcBef>
                <a:spcPts val="600"/>
              </a:spcBef>
              <a:buClr>
                <a:srgbClr val="1E1E1E"/>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Improve content score &amp; SEO ranking</a:t>
            </a:r>
          </a:p>
          <a:p>
            <a:pPr marL="152400" indent="-152400">
              <a:lnSpc>
                <a:spcPct val="90000"/>
              </a:lnSpc>
              <a:spcBef>
                <a:spcPts val="600"/>
              </a:spcBef>
              <a:buClr>
                <a:srgbClr val="1E1E1E"/>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Target ads by age/demographic</a:t>
            </a:r>
          </a:p>
          <a:p>
            <a:pPr marL="152400" indent="-152400">
              <a:lnSpc>
                <a:spcPct val="90000"/>
              </a:lnSpc>
              <a:spcBef>
                <a:spcPts val="600"/>
              </a:spcBef>
              <a:buClr>
                <a:srgbClr val="1E1E1E"/>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Optimize </a:t>
            </a:r>
            <a:r>
              <a:rPr kumimoji="0" lang="en-US" sz="1400" b="0" i="0" u="none" strike="noStrike" kern="1200" cap="none" spc="0" normalizeH="0" baseline="0" noProof="0" dirty="0" err="1">
                <a:ln>
                  <a:noFill/>
                </a:ln>
                <a:solidFill>
                  <a:srgbClr val="1E1E1E"/>
                </a:solidFill>
                <a:effectLst/>
                <a:uLnTx/>
                <a:uFillTx/>
                <a:latin typeface="+mj-lt"/>
                <a:ea typeface="+mn-ea"/>
                <a:cs typeface="+mn-cs"/>
              </a:rPr>
              <a:t>RoAS</a:t>
            </a:r>
            <a:r>
              <a:rPr kumimoji="0" lang="en-US" sz="1400" b="0" i="0" u="none" strike="noStrike" kern="1200" cap="none" spc="0" normalizeH="0" baseline="0" noProof="0" dirty="0">
                <a:ln>
                  <a:noFill/>
                </a:ln>
                <a:solidFill>
                  <a:srgbClr val="1E1E1E"/>
                </a:solidFill>
                <a:effectLst/>
                <a:uLnTx/>
                <a:uFillTx/>
                <a:latin typeface="+mj-lt"/>
                <a:ea typeface="+mn-ea"/>
                <a:cs typeface="+mn-cs"/>
              </a:rPr>
              <a:t> using regression &amp; LSTM models for ad timing and channel mix</a:t>
            </a:r>
          </a:p>
        </p:txBody>
      </p:sp>
      <p:sp>
        <p:nvSpPr>
          <p:cNvPr id="69" name="Process0">
            <a:extLst>
              <a:ext uri="{FF2B5EF4-FFF2-40B4-BE49-F238E27FC236}">
                <a16:creationId xmlns:a16="http://schemas.microsoft.com/office/drawing/2014/main" id="{56AAE20A-B772-AEA9-235F-FCE7FC60175A}"/>
              </a:ext>
            </a:extLst>
          </p:cNvPr>
          <p:cNvSpPr/>
          <p:nvPr/>
        </p:nvSpPr>
        <p:spPr>
          <a:xfrm>
            <a:off x="7620000" y="113369"/>
            <a:ext cx="4572000" cy="228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81000" tIns="274320" rIns="381000" bIns="274320" rtlCol="0" anchor="t">
            <a:noAutofit/>
          </a:bodyPr>
          <a:lstStyle/>
          <a:p>
            <a:pPr>
              <a:lnSpc>
                <a:spcPct val="90000"/>
              </a:lnSpc>
              <a:spcBef>
                <a:spcPts val="600"/>
              </a:spcBef>
              <a:defRPr/>
            </a:pPr>
            <a:r>
              <a:rPr lang="en-US" sz="1600" b="1" dirty="0">
                <a:solidFill>
                  <a:schemeClr val="tx2"/>
                </a:solidFill>
                <a:latin typeface="+mj-lt"/>
              </a:rPr>
              <a:t>Fast-moving Goods Loyalty Loop</a:t>
            </a:r>
          </a:p>
          <a:p>
            <a:pPr defTabSz="887554">
              <a:lnSpc>
                <a:spcPct val="90000"/>
              </a:lnSpc>
              <a:spcBef>
                <a:spcPts val="600"/>
              </a:spcBef>
              <a:defRPr/>
            </a:pPr>
            <a:r>
              <a:rPr lang="en-US" sz="1400" b="0" i="1" u="none" strike="noStrike" kern="1200" dirty="0">
                <a:solidFill>
                  <a:schemeClr val="tx1">
                    <a:lumMod val="75000"/>
                  </a:schemeClr>
                </a:solidFill>
                <a:effectLst/>
                <a:latin typeface="+mj-lt"/>
                <a:ea typeface="+mn-ea"/>
                <a:cs typeface="+mn-cs"/>
              </a:rPr>
              <a:t>Protect high-margin </a:t>
            </a:r>
            <a:r>
              <a:rPr lang="en-US" sz="1400" i="1" dirty="0">
                <a:solidFill>
                  <a:schemeClr val="tx1">
                    <a:lumMod val="75000"/>
                  </a:schemeClr>
                </a:solidFill>
                <a:latin typeface="+mj-lt"/>
              </a:rPr>
              <a:t>fast-moving goods</a:t>
            </a:r>
            <a:r>
              <a:rPr lang="en-US" sz="1400" b="0" i="1" u="none" strike="noStrike" kern="1200" dirty="0">
                <a:solidFill>
                  <a:schemeClr val="tx1">
                    <a:lumMod val="75000"/>
                  </a:schemeClr>
                </a:solidFill>
                <a:effectLst/>
                <a:latin typeface="+mj-lt"/>
                <a:ea typeface="+mn-ea"/>
                <a:cs typeface="+mn-cs"/>
              </a:rPr>
              <a:t> via sustained customer touchpoints</a:t>
            </a:r>
            <a:endParaRPr lang="en-US" sz="1400" b="0" i="1" u="none" strike="noStrike" kern="1200" dirty="0">
              <a:solidFill>
                <a:schemeClr val="tx1">
                  <a:lumMod val="75000"/>
                </a:schemeClr>
              </a:solidFill>
              <a:effectLst/>
              <a:latin typeface="+mj-lt"/>
              <a:cs typeface="Arial"/>
            </a:endParaRPr>
          </a:p>
          <a:p>
            <a:pPr marL="152400" indent="-152400">
              <a:lnSpc>
                <a:spcPct val="90000"/>
              </a:lnSpc>
              <a:spcBef>
                <a:spcPts val="600"/>
              </a:spcBef>
              <a:buClr>
                <a:srgbClr val="000000"/>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Preserve </a:t>
            </a:r>
            <a:r>
              <a:rPr lang="en-US" sz="1400" dirty="0">
                <a:solidFill>
                  <a:srgbClr val="1E1E1E"/>
                </a:solidFill>
                <a:latin typeface="+mj-lt"/>
              </a:rPr>
              <a:t>fast-moving goods </a:t>
            </a:r>
            <a:r>
              <a:rPr kumimoji="0" lang="en-US" sz="1400" b="0" i="0" u="none" strike="noStrike" kern="1200" cap="none" spc="0" normalizeH="0" baseline="0" noProof="0" dirty="0">
                <a:ln>
                  <a:noFill/>
                </a:ln>
                <a:solidFill>
                  <a:srgbClr val="1E1E1E"/>
                </a:solidFill>
                <a:effectLst/>
                <a:uLnTx/>
                <a:uFillTx/>
                <a:latin typeface="+mj-lt"/>
                <a:ea typeface="+mn-ea"/>
                <a:cs typeface="+mn-cs"/>
              </a:rPr>
              <a:t>as category anchors</a:t>
            </a:r>
            <a:endParaRPr lang="en-US" sz="1400" b="0" i="0" u="none" strike="noStrike" kern="1200" cap="none" spc="0" normalizeH="0" baseline="0" noProof="0" dirty="0">
              <a:ln>
                <a:noFill/>
              </a:ln>
              <a:solidFill>
                <a:srgbClr val="1E1E1E"/>
              </a:solidFill>
              <a:effectLst/>
              <a:uLnTx/>
              <a:uFillTx/>
              <a:latin typeface="+mj-lt"/>
              <a:cs typeface="Arial"/>
            </a:endParaRPr>
          </a:p>
          <a:p>
            <a:pPr marL="152400" indent="-152400">
              <a:lnSpc>
                <a:spcPct val="90000"/>
              </a:lnSpc>
              <a:spcBef>
                <a:spcPts val="600"/>
              </a:spcBef>
              <a:buClr>
                <a:srgbClr val="000000"/>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lumMod val="75000"/>
                  </a:srgbClr>
                </a:solidFill>
                <a:effectLst/>
                <a:uLnTx/>
                <a:uFillTx/>
                <a:latin typeface="+mj-lt"/>
                <a:ea typeface="+mn-ea"/>
                <a:cs typeface="+mn-cs"/>
              </a:rPr>
              <a:t>Upsell via kits, bundles, and retail tie-ins</a:t>
            </a:r>
          </a:p>
          <a:p>
            <a:pPr marL="152400" indent="-152400">
              <a:lnSpc>
                <a:spcPct val="90000"/>
              </a:lnSpc>
              <a:spcBef>
                <a:spcPts val="600"/>
              </a:spcBef>
              <a:buClr>
                <a:srgbClr val="000000"/>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lumMod val="75000"/>
                  </a:srgbClr>
                </a:solidFill>
                <a:effectLst/>
                <a:uLnTx/>
                <a:uFillTx/>
                <a:latin typeface="+mj-lt"/>
                <a:ea typeface="+mn-ea"/>
                <a:cs typeface="+mn-cs"/>
              </a:rPr>
              <a:t>Monitor loyalty impacts post </a:t>
            </a:r>
            <a:r>
              <a:rPr lang="en-US" sz="1400" dirty="0">
                <a:solidFill>
                  <a:srgbClr val="1E1E1E">
                    <a:lumMod val="75000"/>
                  </a:srgbClr>
                </a:solidFill>
                <a:latin typeface="+mj-lt"/>
              </a:rPr>
              <a:t>factory transition</a:t>
            </a:r>
            <a:endParaRPr lang="en-US" sz="1400" b="0" i="1" dirty="0">
              <a:solidFill>
                <a:schemeClr val="tx1">
                  <a:lumMod val="75000"/>
                </a:schemeClr>
              </a:solidFill>
              <a:latin typeface="+mj-lt"/>
            </a:endParaRPr>
          </a:p>
          <a:p>
            <a:pPr marL="0" marR="0" lvl="0" indent="0" algn="l" defTabSz="887554" rtl="0" eaLnBrk="1" fontAlgn="auto" latinLnBrk="0" hangingPunct="1">
              <a:lnSpc>
                <a:spcPct val="90000"/>
              </a:lnSpc>
              <a:spcBef>
                <a:spcPts val="600"/>
              </a:spcBef>
              <a:buClrTx/>
              <a:buSzTx/>
              <a:buFontTx/>
              <a:buNone/>
              <a:tabLst/>
              <a:defRPr/>
            </a:pPr>
            <a:endParaRPr lang="en-US" sz="1600" b="0" i="1" u="none" strike="noStrike" kern="1200" dirty="0">
              <a:solidFill>
                <a:schemeClr val="tx1">
                  <a:lumMod val="75000"/>
                </a:schemeClr>
              </a:solidFill>
              <a:effectLst/>
              <a:latin typeface="+mj-lt"/>
              <a:ea typeface="+mn-ea"/>
              <a:cs typeface="+mn-cs"/>
            </a:endParaRPr>
          </a:p>
        </p:txBody>
      </p:sp>
      <p:sp>
        <p:nvSpPr>
          <p:cNvPr id="70" name="Process0">
            <a:extLst>
              <a:ext uri="{FF2B5EF4-FFF2-40B4-BE49-F238E27FC236}">
                <a16:creationId xmlns:a16="http://schemas.microsoft.com/office/drawing/2014/main" id="{D760D89E-FD0F-2BD2-A1C4-AF0835EC25EC}"/>
              </a:ext>
            </a:extLst>
          </p:cNvPr>
          <p:cNvSpPr/>
          <p:nvPr/>
        </p:nvSpPr>
        <p:spPr>
          <a:xfrm>
            <a:off x="3048000" y="113369"/>
            <a:ext cx="4572000" cy="228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81000" tIns="274320" rIns="381000" bIns="274320" rtlCol="0" anchor="t">
            <a:noAutofit/>
          </a:bodyPr>
          <a:lstStyle/>
          <a:p>
            <a:pPr algn="l">
              <a:lnSpc>
                <a:spcPct val="90000"/>
              </a:lnSpc>
              <a:spcBef>
                <a:spcPts val="600"/>
              </a:spcBef>
            </a:pPr>
            <a:r>
              <a:rPr lang="en-US" sz="1600" b="1" i="0" u="none" strike="noStrike" kern="1200" dirty="0">
                <a:solidFill>
                  <a:schemeClr val="tx2"/>
                </a:solidFill>
                <a:effectLst/>
                <a:latin typeface="+mj-lt"/>
                <a:ea typeface="+mn-ea"/>
                <a:cs typeface="+mn-cs"/>
              </a:rPr>
              <a:t>Factory Transition Plan</a:t>
            </a:r>
          </a:p>
          <a:p>
            <a:pPr algn="l">
              <a:lnSpc>
                <a:spcPct val="90000"/>
              </a:lnSpc>
              <a:spcBef>
                <a:spcPts val="600"/>
              </a:spcBef>
            </a:pPr>
            <a:r>
              <a:rPr lang="en-US" sz="1400" b="0" i="1" u="none" strike="noStrike" kern="1200" dirty="0">
                <a:solidFill>
                  <a:schemeClr val="tx1">
                    <a:lumMod val="75000"/>
                  </a:schemeClr>
                </a:solidFill>
                <a:effectLst/>
                <a:latin typeface="+mj-lt"/>
                <a:ea typeface="+mn-ea"/>
                <a:cs typeface="+mn-cs"/>
              </a:rPr>
              <a:t>Optimize structural cost base by shifting production of </a:t>
            </a:r>
            <a:r>
              <a:rPr lang="en-US" sz="1400" i="1" dirty="0">
                <a:solidFill>
                  <a:schemeClr val="tx1">
                    <a:lumMod val="75000"/>
                  </a:schemeClr>
                </a:solidFill>
                <a:latin typeface="+mj-lt"/>
              </a:rPr>
              <a:t>target goods </a:t>
            </a:r>
            <a:r>
              <a:rPr lang="en-US" sz="1400" b="0" i="1" u="none" strike="noStrike" kern="1200" dirty="0">
                <a:solidFill>
                  <a:schemeClr val="tx1">
                    <a:lumMod val="75000"/>
                  </a:schemeClr>
                </a:solidFill>
                <a:effectLst/>
                <a:latin typeface="+mj-lt"/>
                <a:ea typeface="+mn-ea"/>
                <a:cs typeface="+mn-cs"/>
              </a:rPr>
              <a:t>to Southeast Asia</a:t>
            </a:r>
          </a:p>
          <a:p>
            <a:pPr marL="152400" indent="-152400">
              <a:lnSpc>
                <a:spcPct val="90000"/>
              </a:lnSpc>
              <a:spcBef>
                <a:spcPts val="600"/>
              </a:spcBef>
              <a:buClr>
                <a:srgbClr val="161616"/>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lumMod val="75000"/>
                  </a:srgbClr>
                </a:solidFill>
                <a:effectLst/>
                <a:uLnTx/>
                <a:uFillTx/>
                <a:latin typeface="+mj-lt"/>
                <a:ea typeface="+mn-ea"/>
                <a:cs typeface="+mn-cs"/>
              </a:rPr>
              <a:t>Phased closure of the facility</a:t>
            </a:r>
          </a:p>
          <a:p>
            <a:pPr marL="152400" indent="-152400">
              <a:lnSpc>
                <a:spcPct val="90000"/>
              </a:lnSpc>
              <a:spcBef>
                <a:spcPts val="600"/>
              </a:spcBef>
              <a:buClr>
                <a:srgbClr val="161616"/>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lumMod val="75000"/>
                  </a:srgbClr>
                </a:solidFill>
                <a:effectLst/>
                <a:uLnTx/>
                <a:uFillTx/>
                <a:latin typeface="+mj-lt"/>
                <a:ea typeface="+mn-ea"/>
                <a:cs typeface="+mn-cs"/>
              </a:rPr>
              <a:t>Preserve large/commercial </a:t>
            </a:r>
            <a:r>
              <a:rPr lang="en-US" sz="1400" dirty="0">
                <a:solidFill>
                  <a:srgbClr val="1E1E1E">
                    <a:lumMod val="75000"/>
                  </a:srgbClr>
                </a:solidFill>
                <a:latin typeface="+mj-lt"/>
              </a:rPr>
              <a:t>goods</a:t>
            </a:r>
            <a:r>
              <a:rPr kumimoji="0" lang="en-US" sz="1400" b="0" i="0" u="none" strike="noStrike" kern="1200" cap="none" spc="0" normalizeH="0" baseline="0" noProof="0" dirty="0">
                <a:ln>
                  <a:noFill/>
                </a:ln>
                <a:solidFill>
                  <a:srgbClr val="1E1E1E">
                    <a:lumMod val="75000"/>
                  </a:srgbClr>
                </a:solidFill>
                <a:effectLst/>
                <a:uLnTx/>
                <a:uFillTx/>
                <a:latin typeface="+mj-lt"/>
                <a:ea typeface="+mn-ea"/>
                <a:cs typeface="+mn-cs"/>
              </a:rPr>
              <a:t> production if cost-effective</a:t>
            </a:r>
          </a:p>
          <a:p>
            <a:pPr marL="152400" indent="-152400">
              <a:lnSpc>
                <a:spcPct val="90000"/>
              </a:lnSpc>
              <a:spcBef>
                <a:spcPts val="600"/>
              </a:spcBef>
              <a:buClr>
                <a:srgbClr val="161616"/>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lumMod val="75000"/>
                  </a:srgbClr>
                </a:solidFill>
                <a:effectLst/>
                <a:uLnTx/>
                <a:uFillTx/>
                <a:latin typeface="+mj-lt"/>
                <a:ea typeface="+mn-ea"/>
                <a:cs typeface="+mn-cs"/>
              </a:rPr>
              <a:t>Retain B2B service capabilities</a:t>
            </a:r>
          </a:p>
        </p:txBody>
      </p:sp>
      <p:sp>
        <p:nvSpPr>
          <p:cNvPr id="3" name="Process0">
            <a:extLst>
              <a:ext uri="{FF2B5EF4-FFF2-40B4-BE49-F238E27FC236}">
                <a16:creationId xmlns:a16="http://schemas.microsoft.com/office/drawing/2014/main" id="{93A9B52E-9D97-D474-89E8-189D05864678}"/>
              </a:ext>
            </a:extLst>
          </p:cNvPr>
          <p:cNvSpPr/>
          <p:nvPr/>
        </p:nvSpPr>
        <p:spPr>
          <a:xfrm>
            <a:off x="3048000" y="2342685"/>
            <a:ext cx="4572000" cy="228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81000" tIns="274320" rIns="381000" bIns="274320" rtlCol="0" anchor="t">
            <a:noAutofit/>
          </a:bodyPr>
          <a:lstStyle/>
          <a:p>
            <a:pPr>
              <a:lnSpc>
                <a:spcPct val="90000"/>
              </a:lnSpc>
              <a:spcBef>
                <a:spcPts val="600"/>
              </a:spcBef>
            </a:pPr>
            <a:r>
              <a:rPr lang="en-US" sz="1600" b="1" dirty="0">
                <a:solidFill>
                  <a:schemeClr val="tx2"/>
                </a:solidFill>
                <a:latin typeface="+mj-lt"/>
              </a:rPr>
              <a:t>Retail Strategy – Brick &amp; Mortar</a:t>
            </a:r>
          </a:p>
          <a:p>
            <a:pPr>
              <a:lnSpc>
                <a:spcPct val="90000"/>
              </a:lnSpc>
              <a:spcBef>
                <a:spcPts val="600"/>
              </a:spcBef>
            </a:pPr>
            <a:r>
              <a:rPr kumimoji="0" lang="en-US" sz="1400" b="0" i="1" u="none" strike="noStrike" kern="1200" cap="none" spc="0" normalizeH="0" baseline="0" noProof="0" dirty="0">
                <a:ln>
                  <a:noFill/>
                </a:ln>
                <a:solidFill>
                  <a:srgbClr val="1E1E1E"/>
                </a:solidFill>
                <a:effectLst/>
                <a:uLnTx/>
                <a:uFillTx/>
                <a:latin typeface="+mj-lt"/>
                <a:ea typeface="+mn-ea"/>
                <a:cs typeface="+mn-cs"/>
              </a:rPr>
              <a:t>Secure shelf space and defend brand presence in-store</a:t>
            </a:r>
          </a:p>
          <a:p>
            <a:pPr marL="152400" indent="-152400">
              <a:lnSpc>
                <a:spcPct val="90000"/>
              </a:lnSpc>
              <a:spcBef>
                <a:spcPts val="600"/>
              </a:spcBef>
              <a:buClr>
                <a:srgbClr val="1E1E1E"/>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Bundle products with high-velocity categories</a:t>
            </a:r>
          </a:p>
          <a:p>
            <a:pPr marL="152400" indent="-152400">
              <a:lnSpc>
                <a:spcPct val="90000"/>
              </a:lnSpc>
              <a:spcBef>
                <a:spcPts val="600"/>
              </a:spcBef>
              <a:buClr>
                <a:srgbClr val="1E1E1E"/>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Negotiate premium shelf positions</a:t>
            </a:r>
          </a:p>
          <a:p>
            <a:pPr marL="152400" indent="-152400">
              <a:lnSpc>
                <a:spcPct val="90000"/>
              </a:lnSpc>
              <a:spcBef>
                <a:spcPts val="600"/>
              </a:spcBef>
              <a:buClr>
                <a:srgbClr val="1E1E1E"/>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E1E1E"/>
                </a:solidFill>
                <a:effectLst/>
                <a:uLnTx/>
                <a:uFillTx/>
                <a:latin typeface="+mj-lt"/>
                <a:ea typeface="+mn-ea"/>
                <a:cs typeface="+mn-cs"/>
              </a:rPr>
              <a:t>Explore co-branded “value” vs “premium” strategy</a:t>
            </a:r>
          </a:p>
        </p:txBody>
      </p:sp>
    </p:spTree>
    <p:extLst>
      <p:ext uri="{BB962C8B-B14F-4D97-AF65-F5344CB8AC3E}">
        <p14:creationId xmlns:p14="http://schemas.microsoft.com/office/powerpoint/2010/main" val="32647759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F013C5-CDBC-C2A8-FA34-678A9C714572}"/>
              </a:ext>
            </a:extLst>
          </p:cNvPr>
          <p:cNvGraphicFramePr>
            <a:graphicFrameLocks noChangeAspect="1"/>
          </p:cNvGraphicFramePr>
          <p:nvPr>
            <p:custDataLst>
              <p:tags r:id="rId1"/>
            </p:custDataLst>
            <p:extLst>
              <p:ext uri="{D42A27DB-BD31-4B8C-83A1-F6EECF244321}">
                <p14:modId xmlns:p14="http://schemas.microsoft.com/office/powerpoint/2010/main" val="3679004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B3F013C5-CDBC-C2A8-FA34-678A9C714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70DD5A-6530-F98D-8F25-8B85A9DA441A}"/>
              </a:ext>
            </a:extLst>
          </p:cNvPr>
          <p:cNvSpPr>
            <a:spLocks noGrp="1"/>
          </p:cNvSpPr>
          <p:nvPr>
            <p:ph type="title"/>
          </p:nvPr>
        </p:nvSpPr>
        <p:spPr>
          <a:xfrm>
            <a:off x="381000" y="381000"/>
            <a:ext cx="10834573" cy="830997"/>
          </a:xfrm>
        </p:spPr>
        <p:txBody>
          <a:bodyPr vert="horz"/>
          <a:lstStyle/>
          <a:p>
            <a:r>
              <a:rPr lang="en-US"/>
              <a:t>We implemented a structured workplan to successfully complete the project for our client</a:t>
            </a:r>
          </a:p>
        </p:txBody>
      </p:sp>
      <p:graphicFrame>
        <p:nvGraphicFramePr>
          <p:cNvPr id="6" name="Table 5">
            <a:extLst>
              <a:ext uri="{FF2B5EF4-FFF2-40B4-BE49-F238E27FC236}">
                <a16:creationId xmlns:a16="http://schemas.microsoft.com/office/drawing/2014/main" id="{E57E67A7-784D-7F0D-0A95-FE6C7DCF901E}"/>
              </a:ext>
            </a:extLst>
          </p:cNvPr>
          <p:cNvGraphicFramePr>
            <a:graphicFrameLocks noGrp="1"/>
          </p:cNvGraphicFramePr>
          <p:nvPr>
            <p:extLst>
              <p:ext uri="{D42A27DB-BD31-4B8C-83A1-F6EECF244321}">
                <p14:modId xmlns:p14="http://schemas.microsoft.com/office/powerpoint/2010/main" val="3806472353"/>
              </p:ext>
            </p:extLst>
          </p:nvPr>
        </p:nvGraphicFramePr>
        <p:xfrm>
          <a:off x="381001" y="1524000"/>
          <a:ext cx="11429995" cy="4169664"/>
        </p:xfrm>
        <a:graphic>
          <a:graphicData uri="http://schemas.openxmlformats.org/drawingml/2006/table">
            <a:tbl>
              <a:tblPr bandRow="1">
                <a:tableStyleId>{5C22544A-7EE6-4342-B048-85BDC9FD1C3A}</a:tableStyleId>
              </a:tblPr>
              <a:tblGrid>
                <a:gridCol w="2878879">
                  <a:extLst>
                    <a:ext uri="{9D8B030D-6E8A-4147-A177-3AD203B41FA5}">
                      <a16:colId xmlns:a16="http://schemas.microsoft.com/office/drawing/2014/main" val="776204228"/>
                    </a:ext>
                  </a:extLst>
                </a:gridCol>
                <a:gridCol w="712593">
                  <a:extLst>
                    <a:ext uri="{9D8B030D-6E8A-4147-A177-3AD203B41FA5}">
                      <a16:colId xmlns:a16="http://schemas.microsoft.com/office/drawing/2014/main" val="1274171874"/>
                    </a:ext>
                  </a:extLst>
                </a:gridCol>
                <a:gridCol w="712593">
                  <a:extLst>
                    <a:ext uri="{9D8B030D-6E8A-4147-A177-3AD203B41FA5}">
                      <a16:colId xmlns:a16="http://schemas.microsoft.com/office/drawing/2014/main" val="456713507"/>
                    </a:ext>
                  </a:extLst>
                </a:gridCol>
                <a:gridCol w="712593">
                  <a:extLst>
                    <a:ext uri="{9D8B030D-6E8A-4147-A177-3AD203B41FA5}">
                      <a16:colId xmlns:a16="http://schemas.microsoft.com/office/drawing/2014/main" val="2216063069"/>
                    </a:ext>
                  </a:extLst>
                </a:gridCol>
                <a:gridCol w="712593">
                  <a:extLst>
                    <a:ext uri="{9D8B030D-6E8A-4147-A177-3AD203B41FA5}">
                      <a16:colId xmlns:a16="http://schemas.microsoft.com/office/drawing/2014/main" val="1025642307"/>
                    </a:ext>
                  </a:extLst>
                </a:gridCol>
                <a:gridCol w="712593">
                  <a:extLst>
                    <a:ext uri="{9D8B030D-6E8A-4147-A177-3AD203B41FA5}">
                      <a16:colId xmlns:a16="http://schemas.microsoft.com/office/drawing/2014/main" val="835812811"/>
                    </a:ext>
                  </a:extLst>
                </a:gridCol>
                <a:gridCol w="712593">
                  <a:extLst>
                    <a:ext uri="{9D8B030D-6E8A-4147-A177-3AD203B41FA5}">
                      <a16:colId xmlns:a16="http://schemas.microsoft.com/office/drawing/2014/main" val="2624074721"/>
                    </a:ext>
                  </a:extLst>
                </a:gridCol>
                <a:gridCol w="712593">
                  <a:extLst>
                    <a:ext uri="{9D8B030D-6E8A-4147-A177-3AD203B41FA5}">
                      <a16:colId xmlns:a16="http://schemas.microsoft.com/office/drawing/2014/main" val="3795625"/>
                    </a:ext>
                  </a:extLst>
                </a:gridCol>
                <a:gridCol w="712593">
                  <a:extLst>
                    <a:ext uri="{9D8B030D-6E8A-4147-A177-3AD203B41FA5}">
                      <a16:colId xmlns:a16="http://schemas.microsoft.com/office/drawing/2014/main" val="1952309616"/>
                    </a:ext>
                  </a:extLst>
                </a:gridCol>
                <a:gridCol w="712593">
                  <a:extLst>
                    <a:ext uri="{9D8B030D-6E8A-4147-A177-3AD203B41FA5}">
                      <a16:colId xmlns:a16="http://schemas.microsoft.com/office/drawing/2014/main" val="1271927995"/>
                    </a:ext>
                  </a:extLst>
                </a:gridCol>
                <a:gridCol w="712593">
                  <a:extLst>
                    <a:ext uri="{9D8B030D-6E8A-4147-A177-3AD203B41FA5}">
                      <a16:colId xmlns:a16="http://schemas.microsoft.com/office/drawing/2014/main" val="2478389439"/>
                    </a:ext>
                  </a:extLst>
                </a:gridCol>
                <a:gridCol w="712593">
                  <a:extLst>
                    <a:ext uri="{9D8B030D-6E8A-4147-A177-3AD203B41FA5}">
                      <a16:colId xmlns:a16="http://schemas.microsoft.com/office/drawing/2014/main" val="678411727"/>
                    </a:ext>
                  </a:extLst>
                </a:gridCol>
                <a:gridCol w="712593">
                  <a:extLst>
                    <a:ext uri="{9D8B030D-6E8A-4147-A177-3AD203B41FA5}">
                      <a16:colId xmlns:a16="http://schemas.microsoft.com/office/drawing/2014/main" val="2042918789"/>
                    </a:ext>
                  </a:extLst>
                </a:gridCol>
              </a:tblGrid>
              <a:tr h="0">
                <a:tc rowSpan="2">
                  <a:txBody>
                    <a:bodyPr/>
                    <a:lstStyle/>
                    <a:p>
                      <a:pPr algn="l" fontAlgn="base">
                        <a:lnSpc>
                          <a:spcPct val="100000"/>
                        </a:lnSpc>
                      </a:pPr>
                      <a:r>
                        <a:rPr lang="en-US" sz="1200" b="1" i="0" u="none" strike="noStrike">
                          <a:solidFill>
                            <a:schemeClr val="tx1"/>
                          </a:solidFill>
                          <a:effectLst/>
                          <a:latin typeface="+mn-lt"/>
                        </a:rPr>
                        <a:t>Activities</a:t>
                      </a:r>
                      <a:endParaRPr lang="en-US" sz="1200" b="1" i="0">
                        <a:solidFill>
                          <a:schemeClr val="tx1"/>
                        </a:solidFill>
                        <a:effectLst/>
                        <a:latin typeface="+mn-lt"/>
                      </a:endParaRP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gridSpan="3">
                  <a:txBody>
                    <a:bodyPr/>
                    <a:lstStyle/>
                    <a:p>
                      <a:pPr algn="l" fontAlgn="base">
                        <a:lnSpc>
                          <a:spcPct val="100000"/>
                        </a:lnSpc>
                      </a:pPr>
                      <a:r>
                        <a:rPr lang="en-US" sz="1200" b="1" i="0" u="none" strike="noStrike">
                          <a:solidFill>
                            <a:schemeClr val="bg1"/>
                          </a:solidFill>
                          <a:effectLst/>
                          <a:latin typeface="+mn-lt"/>
                        </a:rPr>
                        <a:t>January</a:t>
                      </a:r>
                    </a:p>
                  </a:txBody>
                  <a:tcPr marL="36576" marR="36576" marT="36576" marB="36576" anchor="ctr">
                    <a:lnL w="9525" cap="flat" cmpd="sng" algn="ctr">
                      <a:noFill/>
                      <a:prstDash val="solid"/>
                      <a:round/>
                      <a:headEnd type="none" w="med" len="med"/>
                      <a:tailEnd type="none" w="med" len="med"/>
                    </a:lnL>
                    <a:lnR w="9524">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hMerge="1">
                  <a:txBody>
                    <a:bodyPr/>
                    <a:lstStyle/>
                    <a:p>
                      <a:endParaRPr lang="en-US"/>
                    </a:p>
                  </a:txBody>
                  <a:tcPr marL="91420" marR="91420" marT="91420" marB="91420" anchor="ctr">
                    <a:lnL w="9524">
                      <a:solidFill>
                        <a:srgbClr val="F5F5F5"/>
                      </a:solidFill>
                    </a:lnL>
                    <a:lnR w="9524">
                      <a:solidFill>
                        <a:srgbClr val="F5F5F5"/>
                      </a:solidFill>
                    </a:lnR>
                    <a:lnT w="9524">
                      <a:solidFill>
                        <a:srgbClr val="F5F5F5"/>
                      </a:solidFill>
                    </a:lnT>
                    <a:lnB w="9524">
                      <a:solidFill>
                        <a:srgbClr val="F5F5F5"/>
                      </a:solidFill>
                    </a:lnB>
                    <a:solidFill>
                      <a:srgbClr val="787878"/>
                    </a:solidFill>
                  </a:tcPr>
                </a:tc>
                <a:tc gridSpan="4">
                  <a:txBody>
                    <a:bodyPr/>
                    <a:lstStyle/>
                    <a:p>
                      <a:pPr algn="l" fontAlgn="base">
                        <a:lnSpc>
                          <a:spcPct val="100000"/>
                        </a:lnSpc>
                      </a:pPr>
                      <a:r>
                        <a:rPr lang="en-US" sz="1200" b="1" i="0" u="none" strike="noStrike">
                          <a:solidFill>
                            <a:schemeClr val="bg1"/>
                          </a:solidFill>
                          <a:effectLst/>
                          <a:latin typeface="+mn-lt"/>
                        </a:rPr>
                        <a:t>February</a:t>
                      </a:r>
                      <a:endParaRPr lang="en-US" sz="1200" b="0" i="0">
                        <a:solidFill>
                          <a:schemeClr val="bg1"/>
                        </a:solidFill>
                        <a:effectLst/>
                        <a:latin typeface="+mn-lt"/>
                      </a:endParaRPr>
                    </a:p>
                  </a:txBody>
                  <a:tcPr marL="36576" marR="36576" marT="36576" marB="36576" anchor="ctr">
                    <a:lnL w="9524"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l" fontAlgn="base">
                        <a:lnSpc>
                          <a:spcPct val="100000"/>
                        </a:lnSpc>
                      </a:pPr>
                      <a:r>
                        <a:rPr lang="en-US" sz="1200" b="1" i="0" u="none" strike="noStrike">
                          <a:solidFill>
                            <a:schemeClr val="bg1"/>
                          </a:solidFill>
                          <a:effectLst/>
                          <a:latin typeface="+mn-lt"/>
                        </a:rPr>
                        <a:t>March</a:t>
                      </a:r>
                      <a:endParaRPr lang="en-US" sz="1200" b="0" i="0">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lvl="0" algn="l">
                        <a:lnSpc>
                          <a:spcPct val="100000"/>
                        </a:lnSpc>
                        <a:buNone/>
                      </a:pPr>
                      <a:r>
                        <a:rPr lang="en-US" sz="1200" b="1" i="0" u="none" strike="noStrike">
                          <a:solidFill>
                            <a:schemeClr val="bg1"/>
                          </a:solidFill>
                          <a:effectLst/>
                          <a:latin typeface="+mn-lt"/>
                        </a:rPr>
                        <a:t>April</a:t>
                      </a:r>
                      <a:endParaRPr lang="en-US" sz="1200">
                        <a:solidFill>
                          <a:schemeClr val="bg1"/>
                        </a:solidFill>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232326045"/>
                  </a:ext>
                </a:extLst>
              </a:tr>
              <a:tr h="0">
                <a:tc vMerge="1">
                  <a:txBody>
                    <a:bodyPr/>
                    <a:lstStyle/>
                    <a:p>
                      <a:endParaRPr lang="en-US"/>
                    </a:p>
                  </a:txBody>
                  <a:tcPr/>
                </a:tc>
                <a:tc>
                  <a:txBody>
                    <a:bodyPr/>
                    <a:lstStyle/>
                    <a:p>
                      <a:pPr algn="ctr" fontAlgn="base">
                        <a:lnSpc>
                          <a:spcPct val="100000"/>
                        </a:lnSpc>
                      </a:pPr>
                      <a:r>
                        <a:rPr lang="en-US" sz="1200" b="1" i="0" u="none" strike="noStrike">
                          <a:solidFill>
                            <a:schemeClr val="tx1"/>
                          </a:solidFill>
                          <a:effectLst/>
                          <a:latin typeface="+mn-lt"/>
                        </a:rPr>
                        <a:t>Week 1</a:t>
                      </a:r>
                      <a:endParaRPr lang="en-US" sz="1200" b="1" i="0">
                        <a:solidFill>
                          <a:schemeClr val="tx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base">
                        <a:lnSpc>
                          <a:spcPct val="100000"/>
                        </a:lnSpc>
                      </a:pPr>
                      <a:r>
                        <a:rPr lang="en-US" sz="1200" b="1" i="0" u="none" strike="noStrike">
                          <a:solidFill>
                            <a:schemeClr val="tx1"/>
                          </a:solidFill>
                          <a:effectLst/>
                          <a:latin typeface="+mn-lt"/>
                        </a:rPr>
                        <a:t>Week 2</a:t>
                      </a:r>
                      <a:endParaRPr lang="en-US" sz="1200" b="1" i="0">
                        <a:solidFill>
                          <a:schemeClr val="tx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3</a:t>
                      </a:r>
                    </a:p>
                  </a:txBody>
                  <a:tcPr marL="36576" marR="36576" marT="36576" marB="36576" anchor="ctr">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4</a:t>
                      </a:r>
                    </a:p>
                  </a:txBody>
                  <a:tcPr marL="36576" marR="36576" marT="36576" marB="36576" anchor="ctr">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5</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6</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7</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8</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9</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10</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11</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spcBef>
                          <a:spcPts val="0"/>
                        </a:spcBef>
                        <a:spcAft>
                          <a:spcPts val="0"/>
                        </a:spcAft>
                        <a:buNone/>
                      </a:pPr>
                      <a:r>
                        <a:rPr lang="en-US" sz="1200" b="1" i="0" u="none" strike="noStrike" noProof="0">
                          <a:solidFill>
                            <a:schemeClr val="tx1"/>
                          </a:solidFill>
                          <a:effectLst/>
                          <a:latin typeface="+mn-lt"/>
                        </a:rPr>
                        <a:t>Week 12</a:t>
                      </a: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866952288"/>
                  </a:ext>
                </a:extLst>
              </a:tr>
              <a:tr h="457200">
                <a:tc>
                  <a:txBody>
                    <a:bodyPr/>
                    <a:lstStyle/>
                    <a:p>
                      <a:pPr algn="l" fontAlgn="base">
                        <a:lnSpc>
                          <a:spcPct val="100000"/>
                        </a:lnSpc>
                      </a:pPr>
                      <a:r>
                        <a:rPr lang="en-US" sz="1200" b="1" i="0" u="none" strike="noStrike">
                          <a:solidFill>
                            <a:schemeClr val="tx1"/>
                          </a:solidFill>
                          <a:effectLst/>
                          <a:latin typeface="+mn-lt"/>
                        </a:rPr>
                        <a:t>Kick-off and Problem Identification</a:t>
                      </a:r>
                      <a:endParaRPr lang="en-US" sz="1200" b="1" i="0">
                        <a:solidFill>
                          <a:schemeClr val="tx1"/>
                        </a:solidFill>
                        <a:effectLst/>
                        <a:latin typeface="+mn-lt"/>
                      </a:endParaRP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r>
                        <a:rPr lang="en-US" sz="1200" b="0" i="0" u="none" strike="noStrike">
                          <a:solidFill>
                            <a:schemeClr val="bg1"/>
                          </a:solidFill>
                          <a:effectLst/>
                          <a:latin typeface="+mn-lt"/>
                        </a:rPr>
                        <a:t>Midway</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r>
                        <a:rPr lang="en-US" sz="1200" b="0" i="0" u="none" strike="noStrike">
                          <a:solidFill>
                            <a:schemeClr val="bg1"/>
                          </a:solidFill>
                          <a:effectLst/>
                          <a:latin typeface="+mn-lt"/>
                        </a:rPr>
                        <a:t>Final</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3140501323"/>
                  </a:ext>
                </a:extLst>
              </a:tr>
              <a:tr h="457200">
                <a:tc>
                  <a:txBody>
                    <a:bodyPr/>
                    <a:lstStyle/>
                    <a:p>
                      <a:pPr algn="l" fontAlgn="base">
                        <a:lnSpc>
                          <a:spcPct val="100000"/>
                        </a:lnSpc>
                      </a:pPr>
                      <a:r>
                        <a:rPr lang="en-US" sz="1200" b="1" i="0" u="none" strike="noStrike">
                          <a:solidFill>
                            <a:schemeClr val="tx1"/>
                          </a:solidFill>
                          <a:effectLst/>
                          <a:latin typeface="+mn-lt"/>
                        </a:rPr>
                        <a:t>Approach Framing &amp; Initial Data Requests</a:t>
                      </a:r>
                      <a:endParaRPr lang="en-US" sz="1200" b="1" i="0">
                        <a:solidFill>
                          <a:schemeClr val="tx1"/>
                        </a:solidFill>
                        <a:effectLst/>
                        <a:latin typeface="+mn-lt"/>
                      </a:endParaRP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buNone/>
                      </a:pPr>
                      <a:r>
                        <a:rPr lang="en-US" sz="1200" b="0" i="0" u="none" strike="noStrike">
                          <a:solidFill>
                            <a:schemeClr val="bg1"/>
                          </a:solidFill>
                          <a:effectLst/>
                          <a:latin typeface="+mn-lt"/>
                        </a:rPr>
                        <a:t>Feedback</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r>
                        <a:rPr lang="en-US" sz="1200" b="0" i="0" u="none" strike="noStrike">
                          <a:solidFill>
                            <a:schemeClr val="bg1"/>
                          </a:solidFill>
                          <a:effectLst/>
                          <a:latin typeface="+mn-lt"/>
                        </a:rPr>
                        <a:t>Exam</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368941243"/>
                  </a:ext>
                </a:extLst>
              </a:tr>
              <a:tr h="457200">
                <a:tc>
                  <a:txBody>
                    <a:bodyPr/>
                    <a:lstStyle/>
                    <a:p>
                      <a:pPr algn="l" fontAlgn="base">
                        <a:lnSpc>
                          <a:spcPct val="100000"/>
                        </a:lnSpc>
                      </a:pPr>
                      <a:r>
                        <a:rPr lang="en-US" sz="1200" b="1" i="0" u="none" strike="noStrike">
                          <a:solidFill>
                            <a:schemeClr val="tx1"/>
                          </a:solidFill>
                          <a:effectLst/>
                          <a:latin typeface="+mn-lt"/>
                        </a:rPr>
                        <a:t>P1: General &amp; Issue 1 Analysis</a:t>
                      </a: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r>
                        <a:rPr lang="en-US" sz="1200" b="0" i="0" u="none" strike="noStrike">
                          <a:solidFill>
                            <a:schemeClr val="bg1"/>
                          </a:solidFill>
                          <a:effectLst/>
                          <a:latin typeface="+mn-lt"/>
                        </a:rPr>
                        <a:t>Week</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49232391"/>
                  </a:ext>
                </a:extLst>
              </a:tr>
              <a:tr h="457200">
                <a:tc>
                  <a:txBody>
                    <a:bodyPr/>
                    <a:lstStyle/>
                    <a:p>
                      <a:pPr algn="l" fontAlgn="base">
                        <a:lnSpc>
                          <a:spcPct val="100000"/>
                        </a:lnSpc>
                      </a:pPr>
                      <a:r>
                        <a:rPr lang="en-US" sz="1200" b="1" i="0" u="none" strike="noStrike">
                          <a:solidFill>
                            <a:schemeClr val="tx1"/>
                          </a:solidFill>
                          <a:effectLst/>
                          <a:latin typeface="+mn-lt"/>
                        </a:rPr>
                        <a:t>P2: Issue 2 Analysis </a:t>
                      </a:r>
                      <a:endParaRPr lang="en-US" sz="1200" b="1" i="0">
                        <a:solidFill>
                          <a:schemeClr val="tx1"/>
                        </a:solidFill>
                        <a:effectLst/>
                        <a:latin typeface="+mn-lt"/>
                      </a:endParaRP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033859195"/>
                  </a:ext>
                </a:extLst>
              </a:tr>
              <a:tr h="457200">
                <a:tc>
                  <a:txBody>
                    <a:bodyPr/>
                    <a:lstStyle/>
                    <a:p>
                      <a:pPr algn="l" fontAlgn="base">
                        <a:lnSpc>
                          <a:spcPct val="100000"/>
                        </a:lnSpc>
                      </a:pPr>
                      <a:r>
                        <a:rPr lang="en-US" sz="1200" b="1" i="0" u="none" strike="noStrike">
                          <a:solidFill>
                            <a:schemeClr val="tx1"/>
                          </a:solidFill>
                          <a:effectLst/>
                          <a:latin typeface="+mn-lt"/>
                        </a:rPr>
                        <a:t>P3: Issue 3 Analysis </a:t>
                      </a:r>
                      <a:endParaRPr lang="en-US" sz="1200" b="1" i="0">
                        <a:solidFill>
                          <a:schemeClr val="tx1"/>
                        </a:solidFill>
                        <a:effectLst/>
                        <a:latin typeface="+mn-lt"/>
                      </a:endParaRP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4280234320"/>
                  </a:ext>
                </a:extLst>
              </a:tr>
              <a:tr h="457200">
                <a:tc>
                  <a:txBody>
                    <a:bodyPr/>
                    <a:lstStyle/>
                    <a:p>
                      <a:pPr lvl="0" algn="l">
                        <a:lnSpc>
                          <a:spcPct val="100000"/>
                        </a:lnSpc>
                        <a:buNone/>
                      </a:pPr>
                      <a:r>
                        <a:rPr lang="en-US" sz="1200" b="1" i="0" u="none" strike="noStrike">
                          <a:solidFill>
                            <a:schemeClr val="tx1"/>
                          </a:solidFill>
                          <a:effectLst/>
                          <a:latin typeface="+mn-lt"/>
                        </a:rPr>
                        <a:t>P3.1: Follow up Issue 1 and Issue 2</a:t>
                      </a:r>
                    </a:p>
                  </a:txBody>
                  <a:tcPr marL="73152" marR="36576" marT="36576" marB="36576" anchor="ctr">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nchor="ctr">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4">
                      <a:noFill/>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045235382"/>
                  </a:ext>
                </a:extLst>
              </a:tr>
              <a:tr h="457200">
                <a:tc>
                  <a:txBody>
                    <a:bodyPr/>
                    <a:lstStyle/>
                    <a:p>
                      <a:pPr algn="l" fontAlgn="base">
                        <a:lnSpc>
                          <a:spcPct val="100000"/>
                        </a:lnSpc>
                      </a:pPr>
                      <a:r>
                        <a:rPr lang="en-US" sz="1200" b="1" i="0" u="none" strike="noStrike">
                          <a:solidFill>
                            <a:schemeClr val="tx1"/>
                          </a:solidFill>
                          <a:effectLst/>
                          <a:latin typeface="+mn-lt"/>
                        </a:rPr>
                        <a:t>P4: Issue 4 Analysis</a:t>
                      </a:r>
                      <a:endParaRPr lang="en-US" sz="1200" b="1" i="0">
                        <a:solidFill>
                          <a:schemeClr val="tx1"/>
                        </a:solidFill>
                        <a:effectLst/>
                        <a:latin typeface="+mn-lt"/>
                      </a:endParaRP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671929742"/>
                  </a:ext>
                </a:extLst>
              </a:tr>
              <a:tr h="457200">
                <a:tc>
                  <a:txBody>
                    <a:bodyPr/>
                    <a:lstStyle/>
                    <a:p>
                      <a:pPr lvl="0" algn="l">
                        <a:lnSpc>
                          <a:spcPct val="100000"/>
                        </a:lnSpc>
                        <a:buNone/>
                      </a:pPr>
                      <a:r>
                        <a:rPr lang="en-US" sz="1200" b="1" i="0" u="none" strike="noStrike">
                          <a:solidFill>
                            <a:schemeClr val="tx1"/>
                          </a:solidFill>
                          <a:effectLst/>
                          <a:latin typeface="+mn-lt"/>
                        </a:rPr>
                        <a:t>P5: Recommendations and Reflection</a:t>
                      </a:r>
                    </a:p>
                  </a:txBody>
                  <a:tcPr marL="73152"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lvl="0" algn="ctr">
                        <a:lnSpc>
                          <a:spcPct val="100000"/>
                        </a:lnSpc>
                        <a:buNone/>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4">
                      <a:noFill/>
                    </a:lnR>
                    <a:lnT w="28575" cap="flat" cmpd="sng" algn="ctr">
                      <a:solidFill>
                        <a:schemeClr val="bg1"/>
                      </a:solidFill>
                      <a:prstDash val="solid"/>
                      <a:round/>
                      <a:headEnd type="none" w="med" len="med"/>
                      <a:tailEnd type="none" w="med" len="med"/>
                    </a:lnT>
                    <a:lnB w="9524">
                      <a:noFill/>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4"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auto">
                        <a:lnSpc>
                          <a:spcPct val="100000"/>
                        </a:lnSpc>
                      </a:pPr>
                      <a:endParaRPr lang="en-US" sz="1200" b="0" i="0" u="none" strike="noStrike">
                        <a:solidFill>
                          <a:schemeClr val="bg1"/>
                        </a:solidFill>
                        <a:effectLst/>
                        <a:latin typeface="+mn-lt"/>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965557263"/>
                  </a:ext>
                </a:extLst>
              </a:tr>
            </a:tbl>
          </a:graphicData>
        </a:graphic>
      </p:graphicFrame>
      <p:sp>
        <p:nvSpPr>
          <p:cNvPr id="18" name="Rectangle 17">
            <a:extLst>
              <a:ext uri="{FF2B5EF4-FFF2-40B4-BE49-F238E27FC236}">
                <a16:creationId xmlns:a16="http://schemas.microsoft.com/office/drawing/2014/main" id="{E4A52184-2B4D-1FFC-3A29-06DCFCB89434}"/>
              </a:ext>
            </a:extLst>
          </p:cNvPr>
          <p:cNvSpPr/>
          <p:nvPr/>
        </p:nvSpPr>
        <p:spPr bwMode="auto">
          <a:xfrm>
            <a:off x="10988391" y="1275831"/>
            <a:ext cx="182880" cy="137160"/>
          </a:xfrm>
          <a:prstGeom prst="rect">
            <a:avLst/>
          </a:prstGeom>
          <a:solidFill>
            <a:srgbClr val="7823DC"/>
          </a:solidFill>
          <a:ln w="9525" algn="ctr">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9" name="Text Placeholder 2">
            <a:extLst>
              <a:ext uri="{FF2B5EF4-FFF2-40B4-BE49-F238E27FC236}">
                <a16:creationId xmlns:a16="http://schemas.microsoft.com/office/drawing/2014/main" id="{6329C02A-C6ED-2CB7-87B0-A77B66A35593}"/>
              </a:ext>
            </a:extLst>
          </p:cNvPr>
          <p:cNvSpPr>
            <a:spLocks noGrp="1"/>
          </p:cNvSpPr>
          <p:nvPr/>
        </p:nvSpPr>
        <p:spPr bwMode="auto">
          <a:xfrm>
            <a:off x="11215573" y="1275162"/>
            <a:ext cx="530594" cy="13849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spAutoFit/>
          </a:bodyPr>
          <a:lstStyle>
            <a:defPPr>
              <a:defRPr lang="en-US"/>
            </a:defPPr>
            <a:lvl1pPr marL="0" indent="0" algn="l" defTabSz="914400" rtl="0" eaLnBrk="1" latinLnBrk="0" hangingPunct="1">
              <a:lnSpc>
                <a:spcPct val="90000"/>
              </a:lnSpc>
              <a:spcBef>
                <a:spcPts val="600"/>
              </a:spcBef>
              <a:spcAft>
                <a:spcPts val="600"/>
              </a:spcAft>
              <a:buFont typeface="Arial" panose="020B0604020202020204" pitchFamily="34" charset="0"/>
              <a:buNone/>
              <a:defRPr lang="en-US" sz="1200" kern="1200" noProof="0" dirty="0" smtClean="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lang="en-US" sz="1000">
                <a:solidFill>
                  <a:srgbClr val="1E1E1E"/>
                </a:solidFill>
                <a:latin typeface="Arial"/>
                <a:cs typeface="Arial"/>
                <a:sym typeface="Arial" panose="020B0604020202020204" pitchFamily="34" charset="0"/>
              </a:rPr>
              <a:t>Expected</a:t>
            </a:r>
            <a:endParaRPr kumimoji="0" lang="en-US" sz="10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DCEBC474-9BE6-7293-846C-0DF3698EA7F0}"/>
              </a:ext>
            </a:extLst>
          </p:cNvPr>
          <p:cNvSpPr/>
          <p:nvPr/>
        </p:nvSpPr>
        <p:spPr bwMode="auto">
          <a:xfrm>
            <a:off x="9864829" y="1275831"/>
            <a:ext cx="182880" cy="137160"/>
          </a:xfrm>
          <a:prstGeom prst="rect">
            <a:avLst/>
          </a:prstGeom>
          <a:solidFill>
            <a:srgbClr val="AF7DEB"/>
          </a:solidFill>
          <a:ln w="9525" algn="ctr">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2" name="Text Placeholder 2">
            <a:extLst>
              <a:ext uri="{FF2B5EF4-FFF2-40B4-BE49-F238E27FC236}">
                <a16:creationId xmlns:a16="http://schemas.microsoft.com/office/drawing/2014/main" id="{631F8373-88A2-695E-E94C-7CF8E7F8481D}"/>
              </a:ext>
            </a:extLst>
          </p:cNvPr>
          <p:cNvSpPr>
            <a:spLocks noGrp="1"/>
          </p:cNvSpPr>
          <p:nvPr/>
        </p:nvSpPr>
        <p:spPr bwMode="auto">
          <a:xfrm>
            <a:off x="10088543" y="1275162"/>
            <a:ext cx="581891" cy="13849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spAutoFit/>
          </a:bodyPr>
          <a:lstStyle>
            <a:defPPr>
              <a:defRPr lang="en-US"/>
            </a:defPPr>
            <a:lvl1pPr marL="0" indent="0" algn="l" defTabSz="914400" rtl="0" eaLnBrk="1" latinLnBrk="0" hangingPunct="1">
              <a:lnSpc>
                <a:spcPct val="90000"/>
              </a:lnSpc>
              <a:spcBef>
                <a:spcPts val="600"/>
              </a:spcBef>
              <a:spcAft>
                <a:spcPts val="600"/>
              </a:spcAft>
              <a:buFont typeface="Arial" panose="020B0604020202020204" pitchFamily="34" charset="0"/>
              <a:buNone/>
              <a:defRPr lang="en-US" sz="1200" kern="1200" noProof="0" dirty="0" smtClean="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ct val="0"/>
              </a:spcBef>
              <a:spcAft>
                <a:spcPct val="0"/>
              </a:spcAft>
              <a:defRPr/>
            </a:pPr>
            <a:r>
              <a:rPr lang="en-US" altLang="en-US" sz="1000">
                <a:solidFill>
                  <a:srgbClr val="1E1E1E"/>
                </a:solidFill>
                <a:latin typeface="Arial"/>
                <a:cs typeface="Arial"/>
                <a:sym typeface="Arial" panose="020B0604020202020204" pitchFamily="34" charset="0"/>
              </a:rPr>
              <a:t>Follow up </a:t>
            </a:r>
            <a:endParaRPr lang="en-US" sz="1000"/>
          </a:p>
        </p:txBody>
      </p:sp>
      <p:sp>
        <p:nvSpPr>
          <p:cNvPr id="12" name="Google Shape;339;p8">
            <a:extLst>
              <a:ext uri="{FF2B5EF4-FFF2-40B4-BE49-F238E27FC236}">
                <a16:creationId xmlns:a16="http://schemas.microsoft.com/office/drawing/2014/main" id="{51D6399D-C90A-B7B0-F145-2841A756E646}"/>
              </a:ext>
            </a:extLst>
          </p:cNvPr>
          <p:cNvSpPr/>
          <p:nvPr/>
        </p:nvSpPr>
        <p:spPr>
          <a:xfrm>
            <a:off x="6501027" y="5922039"/>
            <a:ext cx="1341714" cy="153888"/>
          </a:xfrm>
          <a:prstGeom prst="rect">
            <a:avLst/>
          </a:prstGeom>
          <a:noFill/>
          <a:ln>
            <a:noFill/>
          </a:ln>
        </p:spPr>
        <p:txBody>
          <a:bodyPr spcFirstLastPara="1" wrap="none" lIns="0" tIns="0" rIns="0" bIns="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accent6"/>
                </a:solidFill>
                <a:latin typeface="Arial"/>
                <a:cs typeface="Arial"/>
                <a:sym typeface="Arial"/>
              </a:rPr>
              <a:t>Midway Presentations</a:t>
            </a:r>
            <a:endParaRPr lang="en-US" sz="1000" b="1">
              <a:solidFill>
                <a:schemeClr val="accent6"/>
              </a:solidFill>
              <a:latin typeface="Arial"/>
              <a:cs typeface="Arial"/>
            </a:endParaRPr>
          </a:p>
        </p:txBody>
      </p:sp>
      <p:sp>
        <p:nvSpPr>
          <p:cNvPr id="13" name="Rectangle 12">
            <a:extLst>
              <a:ext uri="{FF2B5EF4-FFF2-40B4-BE49-F238E27FC236}">
                <a16:creationId xmlns:a16="http://schemas.microsoft.com/office/drawing/2014/main" id="{C198DEB0-C481-BE85-368A-09FE46D56AC9}"/>
              </a:ext>
            </a:extLst>
          </p:cNvPr>
          <p:cNvSpPr/>
          <p:nvPr/>
        </p:nvSpPr>
        <p:spPr>
          <a:xfrm>
            <a:off x="8265533" y="2052018"/>
            <a:ext cx="676656" cy="3639312"/>
          </a:xfrm>
          <a:prstGeom prst="rect">
            <a:avLst/>
          </a:prstGeom>
          <a:pattFill prst="dkUpDiag">
            <a:fgClr>
              <a:schemeClr val="accent2">
                <a:lumMod val="60000"/>
                <a:lumOff val="40000"/>
              </a:schemeClr>
            </a:fgClr>
            <a:bgClr>
              <a:schemeClr val="accent3">
                <a:lumMod val="60000"/>
                <a:lumOff val="40000"/>
              </a:schemeClr>
            </a:bgClr>
          </a:patt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SG" sz="800" b="1">
                <a:solidFill>
                  <a:schemeClr val="tx1"/>
                </a:solidFill>
              </a:rPr>
              <a:t>FINAL</a:t>
            </a:r>
            <a:br>
              <a:rPr lang="en-SG" sz="800" b="1">
                <a:solidFill>
                  <a:schemeClr val="tx1"/>
                </a:solidFill>
              </a:rPr>
            </a:br>
            <a:r>
              <a:rPr lang="en-SG" sz="800" b="1">
                <a:solidFill>
                  <a:schemeClr val="tx1"/>
                </a:solidFill>
              </a:rPr>
              <a:t>EXAM</a:t>
            </a:r>
          </a:p>
        </p:txBody>
      </p:sp>
      <p:sp>
        <p:nvSpPr>
          <p:cNvPr id="15" name="Rectangle 14">
            <a:extLst>
              <a:ext uri="{FF2B5EF4-FFF2-40B4-BE49-F238E27FC236}">
                <a16:creationId xmlns:a16="http://schemas.microsoft.com/office/drawing/2014/main" id="{751C4DD0-E534-168E-E9BD-3B7C6DB3B923}"/>
              </a:ext>
            </a:extLst>
          </p:cNvPr>
          <p:cNvSpPr/>
          <p:nvPr/>
        </p:nvSpPr>
        <p:spPr>
          <a:xfrm>
            <a:off x="9688342" y="2052018"/>
            <a:ext cx="676656" cy="3639312"/>
          </a:xfrm>
          <a:prstGeom prst="rect">
            <a:avLst/>
          </a:prstGeom>
          <a:pattFill prst="dkUpDiag">
            <a:fgClr>
              <a:schemeClr val="accent2">
                <a:lumMod val="60000"/>
                <a:lumOff val="40000"/>
              </a:schemeClr>
            </a:fgClr>
            <a:bgClr>
              <a:schemeClr val="accent3">
                <a:lumMod val="60000"/>
                <a:lumOff val="40000"/>
              </a:schemeClr>
            </a:bgClr>
          </a:patt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SG" sz="800" b="1">
                <a:solidFill>
                  <a:schemeClr val="tx1"/>
                </a:solidFill>
              </a:rPr>
              <a:t>SPRING</a:t>
            </a:r>
            <a:br>
              <a:rPr lang="en-SG" sz="800" b="1">
                <a:solidFill>
                  <a:schemeClr val="tx1"/>
                </a:solidFill>
              </a:rPr>
            </a:br>
            <a:r>
              <a:rPr lang="en-SG" sz="800" b="1">
                <a:solidFill>
                  <a:schemeClr val="tx1"/>
                </a:solidFill>
              </a:rPr>
              <a:t>BREAK</a:t>
            </a:r>
          </a:p>
        </p:txBody>
      </p:sp>
      <p:sp>
        <p:nvSpPr>
          <p:cNvPr id="24" name="Rectangle 23">
            <a:extLst>
              <a:ext uri="{FF2B5EF4-FFF2-40B4-BE49-F238E27FC236}">
                <a16:creationId xmlns:a16="http://schemas.microsoft.com/office/drawing/2014/main" id="{0D80F20B-17D7-33A9-AD2F-9C7431801584}"/>
              </a:ext>
            </a:extLst>
          </p:cNvPr>
          <p:cNvSpPr/>
          <p:nvPr/>
        </p:nvSpPr>
        <p:spPr>
          <a:xfrm>
            <a:off x="6842724" y="2052018"/>
            <a:ext cx="676656" cy="3639312"/>
          </a:xfrm>
          <a:prstGeom prst="rect">
            <a:avLst/>
          </a:prstGeom>
          <a:pattFill prst="dkUpDiag">
            <a:fgClr>
              <a:schemeClr val="accent2">
                <a:lumMod val="60000"/>
                <a:lumOff val="40000"/>
              </a:schemeClr>
            </a:fgClr>
            <a:bgClr>
              <a:schemeClr val="accent3">
                <a:lumMod val="60000"/>
                <a:lumOff val="40000"/>
              </a:schemeClr>
            </a:bgClr>
          </a:pattFill>
          <a:ln>
            <a:noFill/>
          </a:ln>
        </p:spPr>
        <p:style>
          <a:lnRef idx="2">
            <a:schemeClr val="accent1">
              <a:shade val="15000"/>
            </a:schemeClr>
          </a:lnRef>
          <a:fillRef idx="1">
            <a:schemeClr val="accent1"/>
          </a:fillRef>
          <a:effectRef idx="0">
            <a:schemeClr val="accent1"/>
          </a:effectRef>
          <a:fontRef idx="minor">
            <a:schemeClr val="lt1"/>
          </a:fontRef>
        </p:style>
        <p:txBody>
          <a:bodyPr lIns="45720" tIns="45720" rIns="4572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SG" sz="800" b="1">
                <a:solidFill>
                  <a:schemeClr val="tx1"/>
                </a:solidFill>
              </a:rPr>
              <a:t>MIDWAY</a:t>
            </a:r>
            <a:br>
              <a:rPr lang="en-SG" sz="800" b="1">
                <a:solidFill>
                  <a:schemeClr val="tx1"/>
                </a:solidFill>
              </a:rPr>
            </a:br>
            <a:r>
              <a:rPr lang="en-SG" sz="800" b="1">
                <a:solidFill>
                  <a:schemeClr val="tx1"/>
                </a:solidFill>
              </a:rPr>
              <a:t>FEEDBACK</a:t>
            </a:r>
          </a:p>
        </p:txBody>
      </p:sp>
      <p:sp>
        <p:nvSpPr>
          <p:cNvPr id="26" name="Google Shape;337;p8">
            <a:extLst>
              <a:ext uri="{FF2B5EF4-FFF2-40B4-BE49-F238E27FC236}">
                <a16:creationId xmlns:a16="http://schemas.microsoft.com/office/drawing/2014/main" id="{4EE3969F-EAE3-EB36-9CB4-09E4617B3B4A}"/>
              </a:ext>
            </a:extLst>
          </p:cNvPr>
          <p:cNvSpPr/>
          <p:nvPr/>
        </p:nvSpPr>
        <p:spPr>
          <a:xfrm>
            <a:off x="11681656" y="5689278"/>
            <a:ext cx="252023" cy="182880"/>
          </a:xfrm>
          <a:prstGeom prst="triangle">
            <a:avLst>
              <a:gd name="adj" fmla="val 50000"/>
            </a:avLst>
          </a:prstGeom>
          <a:solidFill>
            <a:schemeClr val="tx1"/>
          </a:solidFill>
          <a:ln w="25400" cap="flat" cmpd="sng">
            <a:noFill/>
            <a:prstDash val="solid"/>
            <a:round/>
            <a:headEnd type="none" w="sm" len="sm"/>
            <a:tailEnd type="none" w="sm" len="sm"/>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7" name="Google Shape;339;p8">
            <a:extLst>
              <a:ext uri="{FF2B5EF4-FFF2-40B4-BE49-F238E27FC236}">
                <a16:creationId xmlns:a16="http://schemas.microsoft.com/office/drawing/2014/main" id="{5595FB88-A920-715D-76AD-52CC358047DE}"/>
              </a:ext>
            </a:extLst>
          </p:cNvPr>
          <p:cNvSpPr/>
          <p:nvPr/>
        </p:nvSpPr>
        <p:spPr>
          <a:xfrm>
            <a:off x="11472640" y="5914344"/>
            <a:ext cx="670056" cy="307777"/>
          </a:xfrm>
          <a:prstGeom prst="rect">
            <a:avLst/>
          </a:prstGeom>
          <a:noFill/>
          <a:ln>
            <a:noFill/>
          </a:ln>
        </p:spPr>
        <p:txBody>
          <a:bodyPr spcFirstLastPara="1" wrap="none" lIns="0" tIns="0" rIns="0" bIns="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rgbClr val="000000"/>
                </a:solidFill>
                <a:latin typeface="Arial"/>
                <a:cs typeface="Arial"/>
                <a:sym typeface="Arial"/>
              </a:rPr>
              <a:t>Final </a:t>
            </a:r>
            <a:br>
              <a:rPr lang="en-US" sz="1000" b="1">
                <a:solidFill>
                  <a:srgbClr val="000000"/>
                </a:solidFill>
                <a:latin typeface="Arial"/>
                <a:cs typeface="Arial"/>
                <a:sym typeface="Arial"/>
              </a:rPr>
            </a:br>
            <a:r>
              <a:rPr lang="en-US" sz="1000" b="1">
                <a:solidFill>
                  <a:srgbClr val="000000"/>
                </a:solidFill>
                <a:latin typeface="Arial"/>
                <a:cs typeface="Arial"/>
                <a:sym typeface="Arial"/>
              </a:rPr>
              <a:t>Report Out</a:t>
            </a:r>
            <a:endParaRPr lang="zh-TW" altLang="en-US" sz="1000" b="1"/>
          </a:p>
        </p:txBody>
      </p:sp>
      <p:cxnSp>
        <p:nvCxnSpPr>
          <p:cNvPr id="28" name="直線單箭頭接點 20">
            <a:extLst>
              <a:ext uri="{FF2B5EF4-FFF2-40B4-BE49-F238E27FC236}">
                <a16:creationId xmlns:a16="http://schemas.microsoft.com/office/drawing/2014/main" id="{8268399C-82DA-6A8B-46BB-A6A1EADB2D6C}"/>
              </a:ext>
            </a:extLst>
          </p:cNvPr>
          <p:cNvCxnSpPr>
            <a:cxnSpLocks/>
          </p:cNvCxnSpPr>
          <p:nvPr/>
        </p:nvCxnSpPr>
        <p:spPr>
          <a:xfrm>
            <a:off x="11807667" y="2037068"/>
            <a:ext cx="0" cy="3652210"/>
          </a:xfrm>
          <a:prstGeom prst="straightConnector1">
            <a:avLst/>
          </a:prstGeom>
          <a:ln w="28575">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33" name="Google Shape;337;p8">
            <a:extLst>
              <a:ext uri="{FF2B5EF4-FFF2-40B4-BE49-F238E27FC236}">
                <a16:creationId xmlns:a16="http://schemas.microsoft.com/office/drawing/2014/main" id="{3A8C9250-CFE3-1A2C-B466-E8609B6B3A4C}"/>
              </a:ext>
            </a:extLst>
          </p:cNvPr>
          <p:cNvSpPr/>
          <p:nvPr/>
        </p:nvSpPr>
        <p:spPr>
          <a:xfrm>
            <a:off x="7045872" y="5689278"/>
            <a:ext cx="252023" cy="182880"/>
          </a:xfrm>
          <a:prstGeom prst="triangle">
            <a:avLst>
              <a:gd name="adj" fmla="val 50000"/>
            </a:avLst>
          </a:prstGeom>
          <a:solidFill>
            <a:schemeClr val="accent6"/>
          </a:solidFill>
          <a:ln w="25400" cap="flat" cmpd="sng">
            <a:noFill/>
            <a:prstDash val="solid"/>
            <a:round/>
            <a:headEnd type="none" w="sm" len="sm"/>
            <a:tailEnd type="none" w="sm" len="sm"/>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 name="Google Shape;321;p8">
            <a:extLst>
              <a:ext uri="{FF2B5EF4-FFF2-40B4-BE49-F238E27FC236}">
                <a16:creationId xmlns:a16="http://schemas.microsoft.com/office/drawing/2014/main" id="{4D884B52-DF72-EE84-FC13-396664DE5B47}"/>
              </a:ext>
            </a:extLst>
          </p:cNvPr>
          <p:cNvSpPr/>
          <p:nvPr/>
        </p:nvSpPr>
        <p:spPr>
          <a:xfrm>
            <a:off x="3972910" y="3036587"/>
            <a:ext cx="2141973"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8" name="Google Shape;328;p8">
            <a:extLst>
              <a:ext uri="{FF2B5EF4-FFF2-40B4-BE49-F238E27FC236}">
                <a16:creationId xmlns:a16="http://schemas.microsoft.com/office/drawing/2014/main" id="{0CEC82BF-EB25-853C-C5D0-5996C8297E07}"/>
              </a:ext>
            </a:extLst>
          </p:cNvPr>
          <p:cNvSpPr/>
          <p:nvPr/>
        </p:nvSpPr>
        <p:spPr>
          <a:xfrm>
            <a:off x="3258161" y="2121646"/>
            <a:ext cx="714749"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 name="Google Shape;328;p8">
            <a:extLst>
              <a:ext uri="{FF2B5EF4-FFF2-40B4-BE49-F238E27FC236}">
                <a16:creationId xmlns:a16="http://schemas.microsoft.com/office/drawing/2014/main" id="{61499240-6C24-D086-0396-59E6BD9EE22B}"/>
              </a:ext>
            </a:extLst>
          </p:cNvPr>
          <p:cNvSpPr/>
          <p:nvPr/>
        </p:nvSpPr>
        <p:spPr>
          <a:xfrm>
            <a:off x="3972911" y="2577683"/>
            <a:ext cx="702282"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0" name="Google Shape;321;p8">
            <a:extLst>
              <a:ext uri="{FF2B5EF4-FFF2-40B4-BE49-F238E27FC236}">
                <a16:creationId xmlns:a16="http://schemas.microsoft.com/office/drawing/2014/main" id="{47D7F744-13EB-4644-7AC3-D1FFD12826C2}"/>
              </a:ext>
            </a:extLst>
          </p:cNvPr>
          <p:cNvSpPr/>
          <p:nvPr/>
        </p:nvSpPr>
        <p:spPr>
          <a:xfrm>
            <a:off x="5408478" y="3495491"/>
            <a:ext cx="1414386"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4" name="Google Shape;321;p8">
            <a:extLst>
              <a:ext uri="{FF2B5EF4-FFF2-40B4-BE49-F238E27FC236}">
                <a16:creationId xmlns:a16="http://schemas.microsoft.com/office/drawing/2014/main" id="{2F2CB5EC-543F-93F3-1FC1-BE5C41E3C044}"/>
              </a:ext>
            </a:extLst>
          </p:cNvPr>
          <p:cNvSpPr/>
          <p:nvPr/>
        </p:nvSpPr>
        <p:spPr>
          <a:xfrm>
            <a:off x="6115312" y="4413299"/>
            <a:ext cx="1463040"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6" name="Google Shape;321;p8">
            <a:extLst>
              <a:ext uri="{FF2B5EF4-FFF2-40B4-BE49-F238E27FC236}">
                <a16:creationId xmlns:a16="http://schemas.microsoft.com/office/drawing/2014/main" id="{A1812F85-6F6F-E671-2EC5-89B5752CC98B}"/>
              </a:ext>
            </a:extLst>
          </p:cNvPr>
          <p:cNvSpPr/>
          <p:nvPr/>
        </p:nvSpPr>
        <p:spPr>
          <a:xfrm>
            <a:off x="8961799" y="5331108"/>
            <a:ext cx="2096260"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3" name="Google Shape;321;p8">
            <a:extLst>
              <a:ext uri="{FF2B5EF4-FFF2-40B4-BE49-F238E27FC236}">
                <a16:creationId xmlns:a16="http://schemas.microsoft.com/office/drawing/2014/main" id="{AF8B1037-DBAF-4416-B738-3398C7B0AB38}"/>
              </a:ext>
            </a:extLst>
          </p:cNvPr>
          <p:cNvSpPr/>
          <p:nvPr/>
        </p:nvSpPr>
        <p:spPr>
          <a:xfrm>
            <a:off x="6115312" y="3954395"/>
            <a:ext cx="1463040"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5" name="Google Shape;321;p8">
            <a:extLst>
              <a:ext uri="{FF2B5EF4-FFF2-40B4-BE49-F238E27FC236}">
                <a16:creationId xmlns:a16="http://schemas.microsoft.com/office/drawing/2014/main" id="{6847C5E3-080F-5FF7-2D95-7AFF61A01681}"/>
              </a:ext>
            </a:extLst>
          </p:cNvPr>
          <p:cNvSpPr/>
          <p:nvPr/>
        </p:nvSpPr>
        <p:spPr>
          <a:xfrm>
            <a:off x="8320530" y="4872203"/>
            <a:ext cx="1349501" cy="274320"/>
          </a:xfrm>
          <a:prstGeom prst="homePlate">
            <a:avLst>
              <a:gd name="adj" fmla="val 32456"/>
            </a:avLst>
          </a:prstGeom>
          <a:solidFill>
            <a:schemeClr val="accent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accent6">
                  <a:lumMod val="40000"/>
                  <a:lumOff val="60000"/>
                </a:schemeClr>
              </a:solidFill>
              <a:latin typeface="Arial"/>
              <a:ea typeface="Arial"/>
              <a:cs typeface="Arial"/>
              <a:sym typeface="Arial"/>
            </a:endParaRPr>
          </a:p>
        </p:txBody>
      </p:sp>
      <p:sp>
        <p:nvSpPr>
          <p:cNvPr id="29" name="Google Shape;321;p8">
            <a:extLst>
              <a:ext uri="{FF2B5EF4-FFF2-40B4-BE49-F238E27FC236}">
                <a16:creationId xmlns:a16="http://schemas.microsoft.com/office/drawing/2014/main" id="{FF83E514-1ADC-2300-06C8-3EDC3D115C0D}"/>
              </a:ext>
            </a:extLst>
          </p:cNvPr>
          <p:cNvSpPr/>
          <p:nvPr/>
        </p:nvSpPr>
        <p:spPr>
          <a:xfrm>
            <a:off x="7514105" y="4872203"/>
            <a:ext cx="1436105" cy="274320"/>
          </a:xfrm>
          <a:prstGeom prst="homePlate">
            <a:avLst>
              <a:gd name="adj" fmla="val 32456"/>
            </a:avLst>
          </a:prstGeom>
          <a:solidFill>
            <a:srgbClr val="7823DC"/>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1" name="Rectangle 40">
            <a:extLst>
              <a:ext uri="{FF2B5EF4-FFF2-40B4-BE49-F238E27FC236}">
                <a16:creationId xmlns:a16="http://schemas.microsoft.com/office/drawing/2014/main" id="{5ABF249D-E86C-4B4A-D08A-1BB7C4564201}"/>
              </a:ext>
            </a:extLst>
          </p:cNvPr>
          <p:cNvSpPr/>
          <p:nvPr/>
        </p:nvSpPr>
        <p:spPr>
          <a:xfrm>
            <a:off x="381000" y="1143000"/>
            <a:ext cx="9525000" cy="24929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800" b="1" dirty="0">
                <a:solidFill>
                  <a:schemeClr val="tx1"/>
                </a:solidFill>
              </a:rPr>
              <a:t>Workplan as of Apr </a:t>
            </a:r>
            <a:r>
              <a:rPr lang="en-US" b="1" dirty="0">
                <a:solidFill>
                  <a:schemeClr val="tx1"/>
                </a:solidFill>
              </a:rPr>
              <a:t>24</a:t>
            </a:r>
            <a:r>
              <a:rPr lang="en-US" sz="1800" b="1" dirty="0">
                <a:solidFill>
                  <a:schemeClr val="tx1"/>
                </a:solidFill>
              </a:rPr>
              <a:t>, 2025</a:t>
            </a:r>
            <a:endParaRPr lang="en-US" sz="1600" b="1" dirty="0">
              <a:solidFill>
                <a:schemeClr val="tx1"/>
              </a:solidFill>
              <a:latin typeface="Arial" panose="020B0604020202020204" pitchFamily="34" charset="0"/>
            </a:endParaRPr>
          </a:p>
        </p:txBody>
      </p:sp>
    </p:spTree>
    <p:extLst>
      <p:ext uri="{BB962C8B-B14F-4D97-AF65-F5344CB8AC3E}">
        <p14:creationId xmlns:p14="http://schemas.microsoft.com/office/powerpoint/2010/main" val="22773274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cess0">
            <a:extLst>
              <a:ext uri="{FF2B5EF4-FFF2-40B4-BE49-F238E27FC236}">
                <a16:creationId xmlns:a16="http://schemas.microsoft.com/office/drawing/2014/main" id="{DB8C098D-DFB0-D0A3-EF28-30FF7EC1D9EA}"/>
              </a:ext>
            </a:extLst>
          </p:cNvPr>
          <p:cNvSpPr/>
          <p:nvPr/>
        </p:nvSpPr>
        <p:spPr>
          <a:xfrm>
            <a:off x="7620000" y="0"/>
            <a:ext cx="4572000" cy="6858000"/>
          </a:xfrm>
          <a:prstGeom prst="rect">
            <a:avLst/>
          </a:prstGeom>
          <a:noFill/>
          <a:ln>
            <a:noFill/>
          </a:ln>
          <a:extLst>
            <a:ext uri="{909E8E84-426E-40DD-AFC4-6F175D3DCCD1}">
              <a14:hiddenFill xmlns:a14="http://schemas.microsoft.com/office/drawing/2010/main">
                <a:solidFill>
                  <a:srgbClr val="E6E6E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noAutofit/>
          </a:bodyPr>
          <a:lstStyle/>
          <a:p>
            <a:pPr algn="l">
              <a:lnSpc>
                <a:spcPct val="90000"/>
              </a:lnSpc>
            </a:pPr>
            <a:r>
              <a:rPr lang="fr-FR" sz="1600" b="1">
                <a:solidFill>
                  <a:schemeClr val="tx2"/>
                </a:solidFill>
                <a:latin typeface="Arial" panose="020B0604020202020204" pitchFamily="34" charset="0"/>
              </a:rPr>
              <a:t>Client Performance </a:t>
            </a:r>
            <a:br>
              <a:rPr lang="fr-FR" sz="1600" b="1">
                <a:solidFill>
                  <a:schemeClr val="tx2"/>
                </a:solidFill>
                <a:latin typeface="Arial" panose="020B0604020202020204" pitchFamily="34" charset="0"/>
              </a:rPr>
            </a:br>
            <a:r>
              <a:rPr lang="fr-FR" sz="1600" b="1">
                <a:solidFill>
                  <a:schemeClr val="tx2"/>
                </a:solidFill>
                <a:latin typeface="Arial" panose="020B0604020202020204" pitchFamily="34" charset="0"/>
              </a:rPr>
              <a:t>(2023 → 2024 Trends)</a:t>
            </a:r>
          </a:p>
        </p:txBody>
      </p:sp>
      <p:sp>
        <p:nvSpPr>
          <p:cNvPr id="5" name="Process0">
            <a:extLst>
              <a:ext uri="{FF2B5EF4-FFF2-40B4-BE49-F238E27FC236}">
                <a16:creationId xmlns:a16="http://schemas.microsoft.com/office/drawing/2014/main" id="{90674A51-EADC-9C76-9E2C-03C36F673684}"/>
              </a:ext>
            </a:extLst>
          </p:cNvPr>
          <p:cNvSpPr/>
          <p:nvPr/>
        </p:nvSpPr>
        <p:spPr>
          <a:xfrm>
            <a:off x="3048000" y="0"/>
            <a:ext cx="45720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noAutofit/>
          </a:bodyPr>
          <a:lstStyle/>
          <a:p>
            <a:pPr algn="l">
              <a:lnSpc>
                <a:spcPct val="90000"/>
              </a:lnSpc>
            </a:pPr>
            <a:r>
              <a:rPr lang="en-US" sz="1600" b="1">
                <a:solidFill>
                  <a:schemeClr val="tx2"/>
                </a:solidFill>
                <a:latin typeface="Arial" panose="020B0604020202020204" pitchFamily="34" charset="0"/>
              </a:rPr>
              <a:t>Market Landscape – Slow Growth &amp; Rising Competition</a:t>
            </a:r>
          </a:p>
        </p:txBody>
      </p:sp>
      <p:graphicFrame>
        <p:nvGraphicFramePr>
          <p:cNvPr id="4" name="think-cell data - do not delete" hidden="1">
            <a:extLst>
              <a:ext uri="{FF2B5EF4-FFF2-40B4-BE49-F238E27FC236}">
                <a16:creationId xmlns:a16="http://schemas.microsoft.com/office/drawing/2014/main" id="{6F1A3E09-8447-76CC-638B-222834F14F1D}"/>
              </a:ext>
            </a:extLst>
          </p:cNvPr>
          <p:cNvGraphicFramePr>
            <a:graphicFrameLocks noChangeAspect="1"/>
          </p:cNvGraphicFramePr>
          <p:nvPr>
            <p:custDataLst>
              <p:tags r:id="rId1"/>
            </p:custDataLst>
            <p:extLst>
              <p:ext uri="{D42A27DB-BD31-4B8C-83A1-F6EECF244321}">
                <p14:modId xmlns:p14="http://schemas.microsoft.com/office/powerpoint/2010/main" val="4013619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6F1A3E09-8447-76CC-638B-222834F14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0D5249-83D6-E655-CC25-EEE867E2EED2}"/>
              </a:ext>
            </a:extLst>
          </p:cNvPr>
          <p:cNvSpPr>
            <a:spLocks noGrp="1"/>
          </p:cNvSpPr>
          <p:nvPr>
            <p:ph type="title"/>
          </p:nvPr>
        </p:nvSpPr>
        <p:spPr/>
        <p:txBody>
          <a:bodyPr vert="horz"/>
          <a:lstStyle/>
          <a:p>
            <a:r>
              <a:rPr lang="en-US"/>
              <a:t>Market is slowing, retailers are shifting focus, and cheaper imports are rising—even as </a:t>
            </a:r>
            <a:r>
              <a:rPr lang="en-US" dirty="0"/>
              <a:t>client’s</a:t>
            </a:r>
            <a:r>
              <a:rPr lang="en-US"/>
              <a:t> sales hold steady, profit trends are beginning to shift</a:t>
            </a:r>
          </a:p>
        </p:txBody>
      </p:sp>
      <p:sp>
        <p:nvSpPr>
          <p:cNvPr id="8" name="TextBox 7">
            <a:extLst>
              <a:ext uri="{FF2B5EF4-FFF2-40B4-BE49-F238E27FC236}">
                <a16:creationId xmlns:a16="http://schemas.microsoft.com/office/drawing/2014/main" id="{3F6B878B-2E01-B09B-43E5-FBA5FE1147F1}"/>
              </a:ext>
            </a:extLst>
          </p:cNvPr>
          <p:cNvSpPr txBox="1"/>
          <p:nvPr/>
        </p:nvSpPr>
        <p:spPr>
          <a:xfrm>
            <a:off x="3429000" y="6096000"/>
            <a:ext cx="8378825" cy="381000"/>
          </a:xfrm>
          <a:prstGeom prst="rect">
            <a:avLst/>
          </a:prstGeom>
          <a:noFill/>
        </p:spPr>
        <p:txBody>
          <a:bodyPr wrap="square" lIns="0" tIns="0" rIns="0" bIns="0" rtlCol="0" anchor="b" anchorCtr="0">
            <a:noAutofit/>
          </a:bodyPr>
          <a:lstStyle/>
          <a:p>
            <a:pPr>
              <a:lnSpc>
                <a:spcPct val="90000"/>
              </a:lnSpc>
            </a:pPr>
            <a:r>
              <a:rPr lang="en-US" sz="700">
                <a:latin typeface="Arial" panose="020B0604020202020204" pitchFamily="34" charset="0"/>
              </a:rPr>
              <a:t>Source : Market Research</a:t>
            </a:r>
          </a:p>
        </p:txBody>
      </p:sp>
      <p:sp>
        <p:nvSpPr>
          <p:cNvPr id="9" name="TextBox 8">
            <a:extLst>
              <a:ext uri="{FF2B5EF4-FFF2-40B4-BE49-F238E27FC236}">
                <a16:creationId xmlns:a16="http://schemas.microsoft.com/office/drawing/2014/main" id="{31197112-5295-B5EC-293C-E61269458B3B}"/>
              </a:ext>
            </a:extLst>
          </p:cNvPr>
          <p:cNvSpPr txBox="1"/>
          <p:nvPr/>
        </p:nvSpPr>
        <p:spPr>
          <a:xfrm>
            <a:off x="381000" y="3429000"/>
            <a:ext cx="2286000" cy="304800"/>
          </a:xfrm>
          <a:prstGeom prst="rect">
            <a:avLst/>
          </a:prstGeom>
          <a:noFill/>
          <a:ln w="6350">
            <a:noFill/>
          </a:ln>
          <a:extLst>
            <a:ext uri="{91240B29-F687-4F45-9708-019B960494DF}">
              <a14:hiddenLine xmlns:a14="http://schemas.microsoft.com/office/drawing/2010/main" w="6350">
                <a:solidFill>
                  <a:schemeClr val="accent5"/>
                </a:solidFill>
              </a14:hiddenLine>
            </a:ext>
          </a:extLst>
        </p:spPr>
        <p:txBody>
          <a:bodyPr wrap="square" lIns="0" tIns="0" rIns="0" bIns="0" rtlCol="0" anchor="t" anchorCtr="0">
            <a:noAutofit/>
          </a:bodyPr>
          <a:lstStyle/>
          <a:p>
            <a:pPr>
              <a:lnSpc>
                <a:spcPct val="90000"/>
              </a:lnSpc>
            </a:pPr>
            <a:r>
              <a:rPr lang="en-US" sz="1100" b="1">
                <a:solidFill>
                  <a:schemeClr val="accent3"/>
                </a:solidFill>
                <a:latin typeface="Arial" panose="020B0604020202020204" pitchFamily="34" charset="0"/>
              </a:rPr>
              <a:t>Further details of numeric data in </a:t>
            </a:r>
            <a:r>
              <a:rPr lang="en-US" sz="1100" b="1">
                <a:solidFill>
                  <a:schemeClr val="accent3"/>
                </a:solidFill>
                <a:latin typeface="Arial" panose="020B0604020202020204" pitchFamily="34" charset="0"/>
                <a:hlinkClick r:id="" action="ppaction://noaction">
                  <a:extLst>
                    <a:ext uri="{A12FA001-AC4F-418D-AE19-62706E023703}">
                      <ahyp:hlinkClr xmlns:ahyp="http://schemas.microsoft.com/office/drawing/2018/hyperlinkcolor" val="tx"/>
                    </a:ext>
                  </a:extLst>
                </a:hlinkClick>
              </a:rPr>
              <a:t>Appendix 1</a:t>
            </a:r>
            <a:endParaRPr lang="en-US" sz="1100" b="1">
              <a:solidFill>
                <a:schemeClr val="accent3"/>
              </a:solidFill>
              <a:latin typeface="Arial" panose="020B0604020202020204" pitchFamily="34" charset="0"/>
            </a:endParaRPr>
          </a:p>
        </p:txBody>
      </p:sp>
      <p:graphicFrame>
        <p:nvGraphicFramePr>
          <p:cNvPr id="10" name="Table 8">
            <a:extLst>
              <a:ext uri="{FF2B5EF4-FFF2-40B4-BE49-F238E27FC236}">
                <a16:creationId xmlns:a16="http://schemas.microsoft.com/office/drawing/2014/main" id="{78C36646-FFFB-4CA7-20C2-2ECCA857C7B6}"/>
              </a:ext>
            </a:extLst>
          </p:cNvPr>
          <p:cNvGraphicFramePr>
            <a:graphicFrameLocks noGrp="1"/>
          </p:cNvGraphicFramePr>
          <p:nvPr>
            <p:extLst>
              <p:ext uri="{D42A27DB-BD31-4B8C-83A1-F6EECF244321}">
                <p14:modId xmlns:p14="http://schemas.microsoft.com/office/powerpoint/2010/main" val="2283076977"/>
              </p:ext>
            </p:extLst>
          </p:nvPr>
        </p:nvGraphicFramePr>
        <p:xfrm>
          <a:off x="3429000" y="1055910"/>
          <a:ext cx="3810000" cy="5166360"/>
        </p:xfrm>
        <a:graphic>
          <a:graphicData uri="http://schemas.openxmlformats.org/drawingml/2006/table">
            <a:tbl>
              <a:tblPr firstRow="1" bandRow="1">
                <a:tableStyleId>{5C22544A-7EE6-4342-B048-85BDC9FD1C3A}</a:tableStyleId>
              </a:tblPr>
              <a:tblGrid>
                <a:gridCol w="1171855">
                  <a:extLst>
                    <a:ext uri="{9D8B030D-6E8A-4147-A177-3AD203B41FA5}">
                      <a16:colId xmlns:a16="http://schemas.microsoft.com/office/drawing/2014/main" val="1830448546"/>
                    </a:ext>
                  </a:extLst>
                </a:gridCol>
                <a:gridCol w="2638145">
                  <a:extLst>
                    <a:ext uri="{9D8B030D-6E8A-4147-A177-3AD203B41FA5}">
                      <a16:colId xmlns:a16="http://schemas.microsoft.com/office/drawing/2014/main" val="2717700058"/>
                    </a:ext>
                  </a:extLst>
                </a:gridCol>
              </a:tblGrid>
              <a:tr h="1005840">
                <a:tc>
                  <a:txBody>
                    <a:bodyPr/>
                    <a:lstStyle/>
                    <a:p>
                      <a:pPr algn="l">
                        <a:lnSpc>
                          <a:spcPct val="90000"/>
                        </a:lnSpc>
                      </a:pPr>
                      <a:r>
                        <a:rPr lang="en-US" sz="1200" b="1" spc="0">
                          <a:solidFill>
                            <a:schemeClr val="tx1"/>
                          </a:solidFill>
                          <a:latin typeface="Arial" panose="020B0604020202020204" pitchFamily="34" charset="0"/>
                        </a:rPr>
                        <a:t>Slow Growth</a:t>
                      </a: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0" cmpd="sng">
                      <a:solidFill>
                        <a:schemeClr val="bg1"/>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rtl="0" eaLnBrk="1" fontAlgn="auto" latinLnBrk="0" hangingPunct="1">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Forecast CAGR of approximately 4–5% over the next several years, ranking among the slower-growing segments within the broader industry..</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0" cmpd="sng">
                      <a:solidFill>
                        <a:schemeClr val="bg1"/>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816191715"/>
                  </a:ext>
                </a:extLst>
              </a:tr>
              <a:tr h="1005840">
                <a:tc>
                  <a:txBody>
                    <a:bodyPr/>
                    <a:lstStyle/>
                    <a:p>
                      <a:pPr algn="l">
                        <a:lnSpc>
                          <a:spcPct val="90000"/>
                        </a:lnSpc>
                      </a:pPr>
                      <a:r>
                        <a:rPr lang="en-US" sz="1200" b="1" spc="0">
                          <a:solidFill>
                            <a:schemeClr val="tx1"/>
                          </a:solidFill>
                          <a:latin typeface="Arial" panose="020B0604020202020204" pitchFamily="34" charset="0"/>
                        </a:rPr>
                        <a:t>Consumer Shift</a:t>
                      </a: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rtl="0" eaLnBrk="1" fontAlgn="auto" latinLnBrk="0" hangingPunct="1">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Ongoing consumer preference for more interactive or broadly appealing categories.</a:t>
                      </a:r>
                      <a:endParaRPr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p>
                      <a:pPr marL="171450" marR="0" lvl="0" indent="-171450" algn="l">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New customer acquisition rates are moderating.</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068024295"/>
                  </a:ext>
                </a:extLst>
              </a:tr>
              <a:tr h="1005840">
                <a:tc>
                  <a:txBody>
                    <a:bodyPr/>
                    <a:lstStyle/>
                    <a:p>
                      <a:pPr algn="l">
                        <a:lnSpc>
                          <a:spcPct val="90000"/>
                        </a:lnSpc>
                      </a:pPr>
                      <a:r>
                        <a:rPr lang="en-US" sz="1200" b="1" spc="0">
                          <a:solidFill>
                            <a:schemeClr val="tx1"/>
                          </a:solidFill>
                          <a:latin typeface="Arial" panose="020B0604020202020204" pitchFamily="34" charset="0"/>
                        </a:rPr>
                        <a:t>Retail Shift</a:t>
                      </a: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rtl="0" eaLnBrk="1" fontAlgn="auto" latinLnBrk="0" hangingPunct="1">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Shelf space increasingly allocated toward higher-margin products</a:t>
                      </a:r>
                      <a:r>
                        <a:rPr lang="en-US" sz="1200" b="0" spc="0">
                          <a:solidFill>
                            <a:schemeClr val="tx1"/>
                          </a:solidFill>
                          <a:latin typeface="Arial" panose="020B0604020202020204" pitchFamily="34" charset="0"/>
                        </a:rPr>
                        <a:t>.</a:t>
                      </a:r>
                      <a:endParaRPr kumimoji="0" lang="en-US" sz="1200" b="0" kern="1200" cap="none" spc="0" normalizeH="0" baseline="0">
                        <a:ln>
                          <a:noFill/>
                        </a:ln>
                        <a:solidFill>
                          <a:schemeClr val="tx1"/>
                        </a:solidFill>
                        <a:effectLst/>
                        <a:uLnTx/>
                        <a:uFillTx/>
                        <a:latin typeface="Arial" panose="020B0604020202020204" pitchFamily="34" charset="0"/>
                        <a:ea typeface="+mn-ea"/>
                        <a:cs typeface="+mn-cs"/>
                      </a:endParaRPr>
                    </a:p>
                    <a:p>
                      <a:pPr marL="171450" marR="0" lvl="0" indent="-171450" algn="l" rtl="0" eaLnBrk="1" fontAlgn="auto" latinLnBrk="0" hangingPunct="1">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Private-label offerings gaining momentum.</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3958611177"/>
                  </a:ext>
                </a:extLst>
              </a:tr>
              <a:tr h="1005840">
                <a:tc>
                  <a:txBody>
                    <a:bodyPr/>
                    <a:lstStyle/>
                    <a:p>
                      <a:pPr algn="l">
                        <a:lnSpc>
                          <a:spcPct val="90000"/>
                        </a:lnSpc>
                      </a:pPr>
                      <a:r>
                        <a:rPr lang="en-US" sz="1200" b="1" spc="0">
                          <a:solidFill>
                            <a:schemeClr val="tx1"/>
                          </a:solidFill>
                          <a:latin typeface="Arial" panose="020B0604020202020204" pitchFamily="34" charset="0"/>
                        </a:rPr>
                        <a:t>Cost Pressures</a:t>
                      </a: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rtl="0" eaLnBrk="1" fontAlgn="auto" latinLnBrk="0" hangingPunct="1">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Offshore suppliers undercut on price.</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p>
                      <a:pPr marL="171450" marR="0" lvl="0" indent="-171450" algn="l" defTabSz="914400" rtl="0" eaLnBrk="1" fontAlgn="auto" latinLnBrk="0" hangingPunct="1">
                        <a:lnSpc>
                          <a:spcPct val="90000"/>
                        </a:lnSpc>
                        <a:spcBef>
                          <a:spcPts val="0"/>
                        </a:spcBef>
                        <a:spcAft>
                          <a:spcPts val="0"/>
                        </a:spcAft>
                        <a:buClr>
                          <a:schemeClr val="tx2"/>
                        </a:buClr>
                        <a:buSzTx/>
                        <a:buFont typeface="Wingdings" panose="05000000000000000000" pitchFamily="2" charset="2"/>
                        <a:buChar char="ü"/>
                        <a:tabLst/>
                        <a:defRPr/>
                      </a:pPr>
                      <a:r>
                        <a:rPr lang="en-US" sz="1200" b="0" i="0" u="none" strike="noStrike" spc="0" noProof="0">
                          <a:solidFill>
                            <a:schemeClr val="tx1"/>
                          </a:solidFill>
                          <a:latin typeface="Arial" panose="020B0604020202020204" pitchFamily="34" charset="0"/>
                        </a:rPr>
                        <a:t>Rising supply chain costs impact profitability.</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3397522478"/>
                  </a:ext>
                </a:extLst>
              </a:tr>
              <a:tr h="1143000">
                <a:tc>
                  <a:txBody>
                    <a:bodyPr/>
                    <a:lstStyle/>
                    <a:p>
                      <a:pPr algn="l">
                        <a:lnSpc>
                          <a:spcPct val="90000"/>
                        </a:lnSpc>
                      </a:pPr>
                      <a:r>
                        <a:rPr lang="en-US" sz="1200" b="1" spc="0">
                          <a:solidFill>
                            <a:schemeClr val="tx1"/>
                          </a:solidFill>
                          <a:latin typeface="Arial" panose="020B0604020202020204" pitchFamily="34" charset="0"/>
                        </a:rPr>
                        <a:t>E-Commerce Pressure</a:t>
                      </a: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0" cmpd="sng">
                      <a:solidFill>
                        <a:schemeClr val="bg1"/>
                      </a:solidFill>
                    </a:lnB>
                    <a:lnTlToBr w="12700" cmpd="sng">
                      <a:noFill/>
                      <a:prstDash val="solid"/>
                    </a:lnTlToBr>
                    <a:lnBlToTr w="12700" cmpd="sng">
                      <a:noFill/>
                      <a:prstDash val="solid"/>
                    </a:lnBlToTr>
                    <a:solidFill>
                      <a:srgbClr val="D2D2D2"/>
                    </a:solidFill>
                  </a:tcPr>
                </a:tc>
                <a:tc>
                  <a:txBody>
                    <a:bodyPr/>
                    <a:lstStyle/>
                    <a:p>
                      <a:pPr marL="171450" marR="0" lvl="0" indent="-171450" algn="l" rtl="0" eaLnBrk="1" fontAlgn="auto" latinLnBrk="0" hangingPunct="1">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Large online marketplaces continue to grow, and challenge established brands</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p>
                      <a:pPr marL="171450" marR="0" lvl="0" indent="-171450" algn="l">
                        <a:lnSpc>
                          <a:spcPct val="90000"/>
                        </a:lnSpc>
                        <a:spcBef>
                          <a:spcPts val="0"/>
                        </a:spcBef>
                        <a:spcAft>
                          <a:spcPts val="0"/>
                        </a:spcAft>
                        <a:buClr>
                          <a:schemeClr val="tx2"/>
                        </a:buClr>
                        <a:buSzTx/>
                        <a:buFont typeface="Wingdings" panose="05000000000000000000" pitchFamily="2" charset="2"/>
                        <a:buChar char="ü"/>
                      </a:pPr>
                      <a:r>
                        <a:rPr lang="en-US" sz="1200" b="0" i="0" u="none" strike="noStrike" spc="0" noProof="0">
                          <a:solidFill>
                            <a:schemeClr val="tx1"/>
                          </a:solidFill>
                          <a:latin typeface="Arial" panose="020B0604020202020204" pitchFamily="34" charset="0"/>
                        </a:rPr>
                        <a:t>Private labels and third-party sellers compete directly on price and convenience.</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txBody>
                  <a:tcPr marL="35941" marR="35941">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0" cmpd="sng">
                      <a:solidFill>
                        <a:schemeClr val="bg1"/>
                      </a:solidFill>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9417264"/>
                  </a:ext>
                </a:extLst>
              </a:tr>
            </a:tbl>
          </a:graphicData>
        </a:graphic>
      </p:graphicFrame>
      <p:sp>
        <p:nvSpPr>
          <p:cNvPr id="11" name="Freeform: Shape 8">
            <a:extLst>
              <a:ext uri="{FF2B5EF4-FFF2-40B4-BE49-F238E27FC236}">
                <a16:creationId xmlns:a16="http://schemas.microsoft.com/office/drawing/2014/main" id="{99E718E0-4049-2D80-8664-CCC8E4E5514F}"/>
              </a:ext>
            </a:extLst>
          </p:cNvPr>
          <p:cNvSpPr/>
          <p:nvPr/>
        </p:nvSpPr>
        <p:spPr>
          <a:xfrm>
            <a:off x="4141711" y="5746094"/>
            <a:ext cx="360000" cy="360000"/>
          </a:xfrm>
          <a:custGeom>
            <a:avLst/>
            <a:gdLst>
              <a:gd name="connsiteX0" fmla="*/ 452438 w 762000"/>
              <a:gd name="connsiteY0" fmla="*/ 619125 h 764381"/>
              <a:gd name="connsiteX1" fmla="*/ 428625 w 762000"/>
              <a:gd name="connsiteY1" fmla="*/ 642937 h 764381"/>
              <a:gd name="connsiteX2" fmla="*/ 428625 w 762000"/>
              <a:gd name="connsiteY2" fmla="*/ 690562 h 764381"/>
              <a:gd name="connsiteX3" fmla="*/ 452438 w 762000"/>
              <a:gd name="connsiteY3" fmla="*/ 714375 h 764381"/>
              <a:gd name="connsiteX4" fmla="*/ 476250 w 762000"/>
              <a:gd name="connsiteY4" fmla="*/ 690562 h 764381"/>
              <a:gd name="connsiteX5" fmla="*/ 476250 w 762000"/>
              <a:gd name="connsiteY5" fmla="*/ 642937 h 764381"/>
              <a:gd name="connsiteX6" fmla="*/ 452438 w 762000"/>
              <a:gd name="connsiteY6" fmla="*/ 619125 h 764381"/>
              <a:gd name="connsiteX7" fmla="*/ 166688 w 762000"/>
              <a:gd name="connsiteY7" fmla="*/ 619125 h 764381"/>
              <a:gd name="connsiteX8" fmla="*/ 142875 w 762000"/>
              <a:gd name="connsiteY8" fmla="*/ 642937 h 764381"/>
              <a:gd name="connsiteX9" fmla="*/ 142875 w 762000"/>
              <a:gd name="connsiteY9" fmla="*/ 690562 h 764381"/>
              <a:gd name="connsiteX10" fmla="*/ 166688 w 762000"/>
              <a:gd name="connsiteY10" fmla="*/ 714375 h 764381"/>
              <a:gd name="connsiteX11" fmla="*/ 190500 w 762000"/>
              <a:gd name="connsiteY11" fmla="*/ 690562 h 764381"/>
              <a:gd name="connsiteX12" fmla="*/ 190500 w 762000"/>
              <a:gd name="connsiteY12" fmla="*/ 642937 h 764381"/>
              <a:gd name="connsiteX13" fmla="*/ 166688 w 762000"/>
              <a:gd name="connsiteY13" fmla="*/ 619125 h 764381"/>
              <a:gd name="connsiteX14" fmla="*/ 571500 w 762000"/>
              <a:gd name="connsiteY14" fmla="*/ 573881 h 764381"/>
              <a:gd name="connsiteX15" fmla="*/ 619125 w 762000"/>
              <a:gd name="connsiteY15" fmla="*/ 573881 h 764381"/>
              <a:gd name="connsiteX16" fmla="*/ 619125 w 762000"/>
              <a:gd name="connsiteY16" fmla="*/ 762000 h 764381"/>
              <a:gd name="connsiteX17" fmla="*/ 571500 w 762000"/>
              <a:gd name="connsiteY17" fmla="*/ 762000 h 764381"/>
              <a:gd name="connsiteX18" fmla="*/ 452438 w 762000"/>
              <a:gd name="connsiteY18" fmla="*/ 573881 h 764381"/>
              <a:gd name="connsiteX19" fmla="*/ 523875 w 762000"/>
              <a:gd name="connsiteY19" fmla="*/ 645319 h 764381"/>
              <a:gd name="connsiteX20" fmla="*/ 523875 w 762000"/>
              <a:gd name="connsiteY20" fmla="*/ 692944 h 764381"/>
              <a:gd name="connsiteX21" fmla="*/ 452438 w 762000"/>
              <a:gd name="connsiteY21" fmla="*/ 764381 h 764381"/>
              <a:gd name="connsiteX22" fmla="*/ 381000 w 762000"/>
              <a:gd name="connsiteY22" fmla="*/ 692944 h 764381"/>
              <a:gd name="connsiteX23" fmla="*/ 381000 w 762000"/>
              <a:gd name="connsiteY23" fmla="*/ 645319 h 764381"/>
              <a:gd name="connsiteX24" fmla="*/ 452438 w 762000"/>
              <a:gd name="connsiteY24" fmla="*/ 573881 h 764381"/>
              <a:gd name="connsiteX25" fmla="*/ 285750 w 762000"/>
              <a:gd name="connsiteY25" fmla="*/ 573881 h 764381"/>
              <a:gd name="connsiteX26" fmla="*/ 333375 w 762000"/>
              <a:gd name="connsiteY26" fmla="*/ 573881 h 764381"/>
              <a:gd name="connsiteX27" fmla="*/ 333375 w 762000"/>
              <a:gd name="connsiteY27" fmla="*/ 762000 h 764381"/>
              <a:gd name="connsiteX28" fmla="*/ 285750 w 762000"/>
              <a:gd name="connsiteY28" fmla="*/ 762000 h 764381"/>
              <a:gd name="connsiteX29" fmla="*/ 166688 w 762000"/>
              <a:gd name="connsiteY29" fmla="*/ 573881 h 764381"/>
              <a:gd name="connsiteX30" fmla="*/ 238125 w 762000"/>
              <a:gd name="connsiteY30" fmla="*/ 645319 h 764381"/>
              <a:gd name="connsiteX31" fmla="*/ 238125 w 762000"/>
              <a:gd name="connsiteY31" fmla="*/ 692944 h 764381"/>
              <a:gd name="connsiteX32" fmla="*/ 166688 w 762000"/>
              <a:gd name="connsiteY32" fmla="*/ 764381 h 764381"/>
              <a:gd name="connsiteX33" fmla="*/ 95250 w 762000"/>
              <a:gd name="connsiteY33" fmla="*/ 692944 h 764381"/>
              <a:gd name="connsiteX34" fmla="*/ 95250 w 762000"/>
              <a:gd name="connsiteY34" fmla="*/ 645319 h 764381"/>
              <a:gd name="connsiteX35" fmla="*/ 166688 w 762000"/>
              <a:gd name="connsiteY35" fmla="*/ 573881 h 764381"/>
              <a:gd name="connsiteX36" fmla="*/ 2381 w 762000"/>
              <a:gd name="connsiteY36" fmla="*/ 573881 h 764381"/>
              <a:gd name="connsiteX37" fmla="*/ 50006 w 762000"/>
              <a:gd name="connsiteY37" fmla="*/ 573881 h 764381"/>
              <a:gd name="connsiteX38" fmla="*/ 50006 w 762000"/>
              <a:gd name="connsiteY38" fmla="*/ 762000 h 764381"/>
              <a:gd name="connsiteX39" fmla="*/ 2381 w 762000"/>
              <a:gd name="connsiteY39" fmla="*/ 762000 h 764381"/>
              <a:gd name="connsiteX40" fmla="*/ 733462 w 762000"/>
              <a:gd name="connsiteY40" fmla="*/ 571909 h 764381"/>
              <a:gd name="connsiteX41" fmla="*/ 762000 w 762000"/>
              <a:gd name="connsiteY41" fmla="*/ 576262 h 764381"/>
              <a:gd name="connsiteX42" fmla="*/ 762000 w 762000"/>
              <a:gd name="connsiteY42" fmla="*/ 642937 h 764381"/>
              <a:gd name="connsiteX43" fmla="*/ 738188 w 762000"/>
              <a:gd name="connsiteY43" fmla="*/ 619125 h 764381"/>
              <a:gd name="connsiteX44" fmla="*/ 714375 w 762000"/>
              <a:gd name="connsiteY44" fmla="*/ 642937 h 764381"/>
              <a:gd name="connsiteX45" fmla="*/ 714375 w 762000"/>
              <a:gd name="connsiteY45" fmla="*/ 690562 h 764381"/>
              <a:gd name="connsiteX46" fmla="*/ 738188 w 762000"/>
              <a:gd name="connsiteY46" fmla="*/ 714375 h 764381"/>
              <a:gd name="connsiteX47" fmla="*/ 762000 w 762000"/>
              <a:gd name="connsiteY47" fmla="*/ 690562 h 764381"/>
              <a:gd name="connsiteX48" fmla="*/ 762000 w 762000"/>
              <a:gd name="connsiteY48" fmla="*/ 757237 h 764381"/>
              <a:gd name="connsiteX49" fmla="*/ 738188 w 762000"/>
              <a:gd name="connsiteY49" fmla="*/ 762000 h 764381"/>
              <a:gd name="connsiteX50" fmla="*/ 666750 w 762000"/>
              <a:gd name="connsiteY50" fmla="*/ 690562 h 764381"/>
              <a:gd name="connsiteX51" fmla="*/ 666750 w 762000"/>
              <a:gd name="connsiteY51" fmla="*/ 642937 h 764381"/>
              <a:gd name="connsiteX52" fmla="*/ 671513 w 762000"/>
              <a:gd name="connsiteY52" fmla="*/ 619125 h 764381"/>
              <a:gd name="connsiteX53" fmla="*/ 733462 w 762000"/>
              <a:gd name="connsiteY53" fmla="*/ 571909 h 764381"/>
              <a:gd name="connsiteX54" fmla="*/ 595313 w 762000"/>
              <a:gd name="connsiteY54" fmla="*/ 407193 h 764381"/>
              <a:gd name="connsiteX55" fmla="*/ 571500 w 762000"/>
              <a:gd name="connsiteY55" fmla="*/ 431006 h 764381"/>
              <a:gd name="connsiteX56" fmla="*/ 571500 w 762000"/>
              <a:gd name="connsiteY56" fmla="*/ 478631 h 764381"/>
              <a:gd name="connsiteX57" fmla="*/ 595313 w 762000"/>
              <a:gd name="connsiteY57" fmla="*/ 502443 h 764381"/>
              <a:gd name="connsiteX58" fmla="*/ 619125 w 762000"/>
              <a:gd name="connsiteY58" fmla="*/ 478631 h 764381"/>
              <a:gd name="connsiteX59" fmla="*/ 619125 w 762000"/>
              <a:gd name="connsiteY59" fmla="*/ 431006 h 764381"/>
              <a:gd name="connsiteX60" fmla="*/ 595313 w 762000"/>
              <a:gd name="connsiteY60" fmla="*/ 407193 h 764381"/>
              <a:gd name="connsiteX61" fmla="*/ 309563 w 762000"/>
              <a:gd name="connsiteY61" fmla="*/ 407193 h 764381"/>
              <a:gd name="connsiteX62" fmla="*/ 285750 w 762000"/>
              <a:gd name="connsiteY62" fmla="*/ 431006 h 764381"/>
              <a:gd name="connsiteX63" fmla="*/ 285750 w 762000"/>
              <a:gd name="connsiteY63" fmla="*/ 478631 h 764381"/>
              <a:gd name="connsiteX64" fmla="*/ 309563 w 762000"/>
              <a:gd name="connsiteY64" fmla="*/ 502443 h 764381"/>
              <a:gd name="connsiteX65" fmla="*/ 333375 w 762000"/>
              <a:gd name="connsiteY65" fmla="*/ 478631 h 764381"/>
              <a:gd name="connsiteX66" fmla="*/ 333375 w 762000"/>
              <a:gd name="connsiteY66" fmla="*/ 431006 h 764381"/>
              <a:gd name="connsiteX67" fmla="*/ 309563 w 762000"/>
              <a:gd name="connsiteY67" fmla="*/ 407193 h 764381"/>
              <a:gd name="connsiteX68" fmla="*/ 714375 w 762000"/>
              <a:gd name="connsiteY68" fmla="*/ 359568 h 764381"/>
              <a:gd name="connsiteX69" fmla="*/ 762000 w 762000"/>
              <a:gd name="connsiteY69" fmla="*/ 359568 h 764381"/>
              <a:gd name="connsiteX70" fmla="*/ 762000 w 762000"/>
              <a:gd name="connsiteY70" fmla="*/ 550068 h 764381"/>
              <a:gd name="connsiteX71" fmla="*/ 714375 w 762000"/>
              <a:gd name="connsiteY71" fmla="*/ 550068 h 764381"/>
              <a:gd name="connsiteX72" fmla="*/ 595313 w 762000"/>
              <a:gd name="connsiteY72" fmla="*/ 359568 h 764381"/>
              <a:gd name="connsiteX73" fmla="*/ 666750 w 762000"/>
              <a:gd name="connsiteY73" fmla="*/ 431006 h 764381"/>
              <a:gd name="connsiteX74" fmla="*/ 666750 w 762000"/>
              <a:gd name="connsiteY74" fmla="*/ 478631 h 764381"/>
              <a:gd name="connsiteX75" fmla="*/ 595313 w 762000"/>
              <a:gd name="connsiteY75" fmla="*/ 550068 h 764381"/>
              <a:gd name="connsiteX76" fmla="*/ 523875 w 762000"/>
              <a:gd name="connsiteY76" fmla="*/ 478631 h 764381"/>
              <a:gd name="connsiteX77" fmla="*/ 523875 w 762000"/>
              <a:gd name="connsiteY77" fmla="*/ 431006 h 764381"/>
              <a:gd name="connsiteX78" fmla="*/ 595313 w 762000"/>
              <a:gd name="connsiteY78" fmla="*/ 359568 h 764381"/>
              <a:gd name="connsiteX79" fmla="*/ 428625 w 762000"/>
              <a:gd name="connsiteY79" fmla="*/ 359568 h 764381"/>
              <a:gd name="connsiteX80" fmla="*/ 476250 w 762000"/>
              <a:gd name="connsiteY80" fmla="*/ 359568 h 764381"/>
              <a:gd name="connsiteX81" fmla="*/ 476250 w 762000"/>
              <a:gd name="connsiteY81" fmla="*/ 550068 h 764381"/>
              <a:gd name="connsiteX82" fmla="*/ 428625 w 762000"/>
              <a:gd name="connsiteY82" fmla="*/ 550068 h 764381"/>
              <a:gd name="connsiteX83" fmla="*/ 309563 w 762000"/>
              <a:gd name="connsiteY83" fmla="*/ 359568 h 764381"/>
              <a:gd name="connsiteX84" fmla="*/ 381000 w 762000"/>
              <a:gd name="connsiteY84" fmla="*/ 431006 h 764381"/>
              <a:gd name="connsiteX85" fmla="*/ 381000 w 762000"/>
              <a:gd name="connsiteY85" fmla="*/ 478631 h 764381"/>
              <a:gd name="connsiteX86" fmla="*/ 309563 w 762000"/>
              <a:gd name="connsiteY86" fmla="*/ 550068 h 764381"/>
              <a:gd name="connsiteX87" fmla="*/ 238125 w 762000"/>
              <a:gd name="connsiteY87" fmla="*/ 478631 h 764381"/>
              <a:gd name="connsiteX88" fmla="*/ 238125 w 762000"/>
              <a:gd name="connsiteY88" fmla="*/ 431006 h 764381"/>
              <a:gd name="connsiteX89" fmla="*/ 309563 w 762000"/>
              <a:gd name="connsiteY89" fmla="*/ 359568 h 764381"/>
              <a:gd name="connsiteX90" fmla="*/ 142875 w 762000"/>
              <a:gd name="connsiteY90" fmla="*/ 359568 h 764381"/>
              <a:gd name="connsiteX91" fmla="*/ 190500 w 762000"/>
              <a:gd name="connsiteY91" fmla="*/ 359568 h 764381"/>
              <a:gd name="connsiteX92" fmla="*/ 190500 w 762000"/>
              <a:gd name="connsiteY92" fmla="*/ 550068 h 764381"/>
              <a:gd name="connsiteX93" fmla="*/ 142875 w 762000"/>
              <a:gd name="connsiteY93" fmla="*/ 550068 h 764381"/>
              <a:gd name="connsiteX94" fmla="*/ 26194 w 762000"/>
              <a:gd name="connsiteY94" fmla="*/ 359568 h 764381"/>
              <a:gd name="connsiteX95" fmla="*/ 97631 w 762000"/>
              <a:gd name="connsiteY95" fmla="*/ 431006 h 764381"/>
              <a:gd name="connsiteX96" fmla="*/ 97631 w 762000"/>
              <a:gd name="connsiteY96" fmla="*/ 478631 h 764381"/>
              <a:gd name="connsiteX97" fmla="*/ 26194 w 762000"/>
              <a:gd name="connsiteY97" fmla="*/ 550068 h 764381"/>
              <a:gd name="connsiteX98" fmla="*/ 2381 w 762000"/>
              <a:gd name="connsiteY98" fmla="*/ 545305 h 764381"/>
              <a:gd name="connsiteX99" fmla="*/ 2381 w 762000"/>
              <a:gd name="connsiteY99" fmla="*/ 478631 h 764381"/>
              <a:gd name="connsiteX100" fmla="*/ 26194 w 762000"/>
              <a:gd name="connsiteY100" fmla="*/ 502443 h 764381"/>
              <a:gd name="connsiteX101" fmla="*/ 50006 w 762000"/>
              <a:gd name="connsiteY101" fmla="*/ 478631 h 764381"/>
              <a:gd name="connsiteX102" fmla="*/ 50006 w 762000"/>
              <a:gd name="connsiteY102" fmla="*/ 431006 h 764381"/>
              <a:gd name="connsiteX103" fmla="*/ 26194 w 762000"/>
              <a:gd name="connsiteY103" fmla="*/ 407193 h 764381"/>
              <a:gd name="connsiteX104" fmla="*/ 2381 w 762000"/>
              <a:gd name="connsiteY104" fmla="*/ 431006 h 764381"/>
              <a:gd name="connsiteX105" fmla="*/ 2381 w 762000"/>
              <a:gd name="connsiteY105" fmla="*/ 364330 h 764381"/>
              <a:gd name="connsiteX106" fmla="*/ 26194 w 762000"/>
              <a:gd name="connsiteY106" fmla="*/ 359568 h 764381"/>
              <a:gd name="connsiteX107" fmla="*/ 714375 w 762000"/>
              <a:gd name="connsiteY107" fmla="*/ 207168 h 764381"/>
              <a:gd name="connsiteX108" fmla="*/ 714375 w 762000"/>
              <a:gd name="connsiteY108" fmla="*/ 240506 h 764381"/>
              <a:gd name="connsiteX109" fmla="*/ 738188 w 762000"/>
              <a:gd name="connsiteY109" fmla="*/ 264318 h 764381"/>
              <a:gd name="connsiteX110" fmla="*/ 762000 w 762000"/>
              <a:gd name="connsiteY110" fmla="*/ 242887 h 764381"/>
              <a:gd name="connsiteX111" fmla="*/ 762000 w 762000"/>
              <a:gd name="connsiteY111" fmla="*/ 309562 h 764381"/>
              <a:gd name="connsiteX112" fmla="*/ 738188 w 762000"/>
              <a:gd name="connsiteY112" fmla="*/ 314324 h 764381"/>
              <a:gd name="connsiteX113" fmla="*/ 666750 w 762000"/>
              <a:gd name="connsiteY113" fmla="*/ 242887 h 764381"/>
              <a:gd name="connsiteX114" fmla="*/ 666750 w 762000"/>
              <a:gd name="connsiteY114" fmla="*/ 238124 h 764381"/>
              <a:gd name="connsiteX115" fmla="*/ 285750 w 762000"/>
              <a:gd name="connsiteY115" fmla="*/ 178593 h 764381"/>
              <a:gd name="connsiteX116" fmla="*/ 333375 w 762000"/>
              <a:gd name="connsiteY116" fmla="*/ 209549 h 764381"/>
              <a:gd name="connsiteX117" fmla="*/ 333375 w 762000"/>
              <a:gd name="connsiteY117" fmla="*/ 311943 h 764381"/>
              <a:gd name="connsiteX118" fmla="*/ 285750 w 762000"/>
              <a:gd name="connsiteY118" fmla="*/ 311943 h 764381"/>
              <a:gd name="connsiteX119" fmla="*/ 214313 w 762000"/>
              <a:gd name="connsiteY119" fmla="*/ 138112 h 764381"/>
              <a:gd name="connsiteX120" fmla="*/ 238125 w 762000"/>
              <a:gd name="connsiteY120" fmla="*/ 195262 h 764381"/>
              <a:gd name="connsiteX121" fmla="*/ 238125 w 762000"/>
              <a:gd name="connsiteY121" fmla="*/ 242887 h 764381"/>
              <a:gd name="connsiteX122" fmla="*/ 166688 w 762000"/>
              <a:gd name="connsiteY122" fmla="*/ 314324 h 764381"/>
              <a:gd name="connsiteX123" fmla="*/ 95250 w 762000"/>
              <a:gd name="connsiteY123" fmla="*/ 242887 h 764381"/>
              <a:gd name="connsiteX124" fmla="*/ 142875 w 762000"/>
              <a:gd name="connsiteY124" fmla="*/ 200024 h 764381"/>
              <a:gd name="connsiteX125" fmla="*/ 142875 w 762000"/>
              <a:gd name="connsiteY125" fmla="*/ 242887 h 764381"/>
              <a:gd name="connsiteX126" fmla="*/ 166688 w 762000"/>
              <a:gd name="connsiteY126" fmla="*/ 266699 h 764381"/>
              <a:gd name="connsiteX127" fmla="*/ 190500 w 762000"/>
              <a:gd name="connsiteY127" fmla="*/ 242887 h 764381"/>
              <a:gd name="connsiteX128" fmla="*/ 190500 w 762000"/>
              <a:gd name="connsiteY128" fmla="*/ 195262 h 764381"/>
              <a:gd name="connsiteX129" fmla="*/ 176213 w 762000"/>
              <a:gd name="connsiteY129" fmla="*/ 171449 h 764381"/>
              <a:gd name="connsiteX130" fmla="*/ 209550 w 762000"/>
              <a:gd name="connsiteY130" fmla="*/ 0 h 764381"/>
              <a:gd name="connsiteX131" fmla="*/ 538163 w 762000"/>
              <a:gd name="connsiteY131" fmla="*/ 211931 h 764381"/>
              <a:gd name="connsiteX132" fmla="*/ 571500 w 762000"/>
              <a:gd name="connsiteY132" fmla="*/ 174116 h 764381"/>
              <a:gd name="connsiteX133" fmla="*/ 571500 w 762000"/>
              <a:gd name="connsiteY133" fmla="*/ 173831 h 764381"/>
              <a:gd name="connsiteX134" fmla="*/ 571751 w 762000"/>
              <a:gd name="connsiteY134" fmla="*/ 173831 h 764381"/>
              <a:gd name="connsiteX135" fmla="*/ 683011 w 762000"/>
              <a:gd name="connsiteY135" fmla="*/ 47625 h 764381"/>
              <a:gd name="connsiteX136" fmla="*/ 640556 w 762000"/>
              <a:gd name="connsiteY136" fmla="*/ 47625 h 764381"/>
              <a:gd name="connsiteX137" fmla="*/ 640556 w 762000"/>
              <a:gd name="connsiteY137" fmla="*/ 0 h 764381"/>
              <a:gd name="connsiteX138" fmla="*/ 762000 w 762000"/>
              <a:gd name="connsiteY138" fmla="*/ 0 h 764381"/>
              <a:gd name="connsiteX139" fmla="*/ 762000 w 762000"/>
              <a:gd name="connsiteY139" fmla="*/ 119063 h 764381"/>
              <a:gd name="connsiteX140" fmla="*/ 714375 w 762000"/>
              <a:gd name="connsiteY140" fmla="*/ 119063 h 764381"/>
              <a:gd name="connsiteX141" fmla="*/ 714375 w 762000"/>
              <a:gd name="connsiteY141" fmla="*/ 83374 h 764381"/>
              <a:gd name="connsiteX142" fmla="*/ 545306 w 762000"/>
              <a:gd name="connsiteY142" fmla="*/ 273844 h 764381"/>
              <a:gd name="connsiteX143" fmla="*/ 211931 w 762000"/>
              <a:gd name="connsiteY143" fmla="*/ 59531 h 764381"/>
              <a:gd name="connsiteX144" fmla="*/ 0 w 762000"/>
              <a:gd name="connsiteY144" fmla="*/ 240506 h 764381"/>
              <a:gd name="connsiteX145" fmla="*/ 0 w 762000"/>
              <a:gd name="connsiteY145" fmla="*/ 176213 h 76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762000" h="764381">
                <a:moveTo>
                  <a:pt x="452438" y="619125"/>
                </a:moveTo>
                <a:cubicBezTo>
                  <a:pt x="440531" y="619125"/>
                  <a:pt x="428625" y="628650"/>
                  <a:pt x="428625" y="642937"/>
                </a:cubicBezTo>
                <a:lnTo>
                  <a:pt x="428625" y="690562"/>
                </a:lnTo>
                <a:cubicBezTo>
                  <a:pt x="428625" y="704850"/>
                  <a:pt x="438150" y="714375"/>
                  <a:pt x="452438" y="714375"/>
                </a:cubicBezTo>
                <a:cubicBezTo>
                  <a:pt x="466725" y="714375"/>
                  <a:pt x="476250" y="704850"/>
                  <a:pt x="476250" y="690562"/>
                </a:cubicBezTo>
                <a:lnTo>
                  <a:pt x="476250" y="642937"/>
                </a:lnTo>
                <a:cubicBezTo>
                  <a:pt x="476250" y="628650"/>
                  <a:pt x="466725" y="619125"/>
                  <a:pt x="452438" y="619125"/>
                </a:cubicBezTo>
                <a:close/>
                <a:moveTo>
                  <a:pt x="166688" y="619125"/>
                </a:moveTo>
                <a:cubicBezTo>
                  <a:pt x="154781" y="619125"/>
                  <a:pt x="142875" y="628650"/>
                  <a:pt x="142875" y="642937"/>
                </a:cubicBezTo>
                <a:lnTo>
                  <a:pt x="142875" y="690562"/>
                </a:lnTo>
                <a:cubicBezTo>
                  <a:pt x="142875" y="704850"/>
                  <a:pt x="152400" y="714375"/>
                  <a:pt x="166688" y="714375"/>
                </a:cubicBezTo>
                <a:cubicBezTo>
                  <a:pt x="180975" y="714375"/>
                  <a:pt x="190500" y="704850"/>
                  <a:pt x="190500" y="690562"/>
                </a:cubicBezTo>
                <a:lnTo>
                  <a:pt x="190500" y="642937"/>
                </a:lnTo>
                <a:cubicBezTo>
                  <a:pt x="190500" y="628650"/>
                  <a:pt x="180975" y="619125"/>
                  <a:pt x="166688" y="619125"/>
                </a:cubicBezTo>
                <a:close/>
                <a:moveTo>
                  <a:pt x="571500" y="573881"/>
                </a:moveTo>
                <a:lnTo>
                  <a:pt x="619125" y="573881"/>
                </a:lnTo>
                <a:lnTo>
                  <a:pt x="619125" y="762000"/>
                </a:lnTo>
                <a:lnTo>
                  <a:pt x="571500" y="762000"/>
                </a:lnTo>
                <a:close/>
                <a:moveTo>
                  <a:pt x="452438" y="573881"/>
                </a:moveTo>
                <a:cubicBezTo>
                  <a:pt x="492919" y="573881"/>
                  <a:pt x="523875" y="602456"/>
                  <a:pt x="523875" y="645319"/>
                </a:cubicBezTo>
                <a:lnTo>
                  <a:pt x="523875" y="692944"/>
                </a:lnTo>
                <a:cubicBezTo>
                  <a:pt x="523875" y="733425"/>
                  <a:pt x="492919" y="764381"/>
                  <a:pt x="452438" y="764381"/>
                </a:cubicBezTo>
                <a:cubicBezTo>
                  <a:pt x="411956" y="764381"/>
                  <a:pt x="381000" y="733425"/>
                  <a:pt x="381000" y="692944"/>
                </a:cubicBezTo>
                <a:lnTo>
                  <a:pt x="381000" y="645319"/>
                </a:lnTo>
                <a:cubicBezTo>
                  <a:pt x="381000" y="604837"/>
                  <a:pt x="411956" y="573881"/>
                  <a:pt x="452438" y="573881"/>
                </a:cubicBezTo>
                <a:close/>
                <a:moveTo>
                  <a:pt x="285750" y="573881"/>
                </a:moveTo>
                <a:lnTo>
                  <a:pt x="333375" y="573881"/>
                </a:lnTo>
                <a:lnTo>
                  <a:pt x="333375" y="762000"/>
                </a:lnTo>
                <a:lnTo>
                  <a:pt x="285750" y="762000"/>
                </a:lnTo>
                <a:close/>
                <a:moveTo>
                  <a:pt x="166688" y="573881"/>
                </a:moveTo>
                <a:cubicBezTo>
                  <a:pt x="207169" y="573881"/>
                  <a:pt x="238125" y="602456"/>
                  <a:pt x="238125" y="645319"/>
                </a:cubicBezTo>
                <a:lnTo>
                  <a:pt x="238125" y="692944"/>
                </a:lnTo>
                <a:cubicBezTo>
                  <a:pt x="238125" y="733425"/>
                  <a:pt x="207169" y="764381"/>
                  <a:pt x="166688" y="764381"/>
                </a:cubicBezTo>
                <a:cubicBezTo>
                  <a:pt x="126206" y="764381"/>
                  <a:pt x="95250" y="733425"/>
                  <a:pt x="95250" y="692944"/>
                </a:cubicBezTo>
                <a:lnTo>
                  <a:pt x="95250" y="645319"/>
                </a:lnTo>
                <a:cubicBezTo>
                  <a:pt x="95250" y="604837"/>
                  <a:pt x="126206" y="573881"/>
                  <a:pt x="166688" y="573881"/>
                </a:cubicBezTo>
                <a:close/>
                <a:moveTo>
                  <a:pt x="2381" y="573881"/>
                </a:moveTo>
                <a:lnTo>
                  <a:pt x="50006" y="573881"/>
                </a:lnTo>
                <a:lnTo>
                  <a:pt x="50006" y="762000"/>
                </a:lnTo>
                <a:lnTo>
                  <a:pt x="2381" y="762000"/>
                </a:lnTo>
                <a:close/>
                <a:moveTo>
                  <a:pt x="733462" y="571909"/>
                </a:moveTo>
                <a:cubicBezTo>
                  <a:pt x="742801" y="571351"/>
                  <a:pt x="752475" y="572690"/>
                  <a:pt x="762000" y="576262"/>
                </a:cubicBezTo>
                <a:lnTo>
                  <a:pt x="762000" y="642937"/>
                </a:lnTo>
                <a:cubicBezTo>
                  <a:pt x="762000" y="628650"/>
                  <a:pt x="752475" y="619125"/>
                  <a:pt x="738188" y="619125"/>
                </a:cubicBezTo>
                <a:cubicBezTo>
                  <a:pt x="723900" y="619125"/>
                  <a:pt x="714375" y="628650"/>
                  <a:pt x="714375" y="642937"/>
                </a:cubicBezTo>
                <a:lnTo>
                  <a:pt x="714375" y="690562"/>
                </a:lnTo>
                <a:cubicBezTo>
                  <a:pt x="714375" y="704850"/>
                  <a:pt x="723900" y="714375"/>
                  <a:pt x="738188" y="714375"/>
                </a:cubicBezTo>
                <a:cubicBezTo>
                  <a:pt x="752475" y="714375"/>
                  <a:pt x="762000" y="704850"/>
                  <a:pt x="762000" y="690562"/>
                </a:cubicBezTo>
                <a:lnTo>
                  <a:pt x="762000" y="757237"/>
                </a:lnTo>
                <a:cubicBezTo>
                  <a:pt x="754856" y="759619"/>
                  <a:pt x="745331" y="762000"/>
                  <a:pt x="738188" y="762000"/>
                </a:cubicBezTo>
                <a:cubicBezTo>
                  <a:pt x="700087" y="762000"/>
                  <a:pt x="666750" y="731044"/>
                  <a:pt x="666750" y="690562"/>
                </a:cubicBezTo>
                <a:lnTo>
                  <a:pt x="666750" y="642937"/>
                </a:lnTo>
                <a:cubicBezTo>
                  <a:pt x="666750" y="635794"/>
                  <a:pt x="669131" y="626269"/>
                  <a:pt x="671513" y="619125"/>
                </a:cubicBezTo>
                <a:cubicBezTo>
                  <a:pt x="680443" y="592336"/>
                  <a:pt x="705446" y="573584"/>
                  <a:pt x="733462" y="571909"/>
                </a:cubicBezTo>
                <a:close/>
                <a:moveTo>
                  <a:pt x="595313" y="407193"/>
                </a:moveTo>
                <a:cubicBezTo>
                  <a:pt x="583406" y="407193"/>
                  <a:pt x="571500" y="416718"/>
                  <a:pt x="571500" y="431006"/>
                </a:cubicBezTo>
                <a:lnTo>
                  <a:pt x="571500" y="478631"/>
                </a:lnTo>
                <a:cubicBezTo>
                  <a:pt x="571500" y="492918"/>
                  <a:pt x="581025" y="502443"/>
                  <a:pt x="595313" y="502443"/>
                </a:cubicBezTo>
                <a:cubicBezTo>
                  <a:pt x="609600" y="502443"/>
                  <a:pt x="619125" y="492918"/>
                  <a:pt x="619125" y="478631"/>
                </a:cubicBezTo>
                <a:lnTo>
                  <a:pt x="619125" y="431006"/>
                </a:lnTo>
                <a:cubicBezTo>
                  <a:pt x="619125" y="416718"/>
                  <a:pt x="609600" y="407193"/>
                  <a:pt x="595313" y="407193"/>
                </a:cubicBezTo>
                <a:close/>
                <a:moveTo>
                  <a:pt x="309563" y="407193"/>
                </a:moveTo>
                <a:cubicBezTo>
                  <a:pt x="297656" y="407193"/>
                  <a:pt x="285750" y="416718"/>
                  <a:pt x="285750" y="431006"/>
                </a:cubicBezTo>
                <a:lnTo>
                  <a:pt x="285750" y="478631"/>
                </a:lnTo>
                <a:cubicBezTo>
                  <a:pt x="285750" y="492918"/>
                  <a:pt x="295275" y="502443"/>
                  <a:pt x="309563" y="502443"/>
                </a:cubicBezTo>
                <a:cubicBezTo>
                  <a:pt x="323850" y="502443"/>
                  <a:pt x="333375" y="492918"/>
                  <a:pt x="333375" y="478631"/>
                </a:cubicBezTo>
                <a:lnTo>
                  <a:pt x="333375" y="431006"/>
                </a:lnTo>
                <a:cubicBezTo>
                  <a:pt x="333375" y="416718"/>
                  <a:pt x="323850" y="407193"/>
                  <a:pt x="309563" y="407193"/>
                </a:cubicBezTo>
                <a:close/>
                <a:moveTo>
                  <a:pt x="714375" y="359568"/>
                </a:moveTo>
                <a:lnTo>
                  <a:pt x="762000" y="359568"/>
                </a:lnTo>
                <a:lnTo>
                  <a:pt x="762000" y="550068"/>
                </a:lnTo>
                <a:lnTo>
                  <a:pt x="714375" y="550068"/>
                </a:lnTo>
                <a:close/>
                <a:moveTo>
                  <a:pt x="595313" y="359568"/>
                </a:moveTo>
                <a:cubicBezTo>
                  <a:pt x="635794" y="359568"/>
                  <a:pt x="666750" y="390524"/>
                  <a:pt x="666750" y="431006"/>
                </a:cubicBezTo>
                <a:lnTo>
                  <a:pt x="666750" y="478631"/>
                </a:lnTo>
                <a:cubicBezTo>
                  <a:pt x="666750" y="519112"/>
                  <a:pt x="635794" y="550068"/>
                  <a:pt x="595313" y="550068"/>
                </a:cubicBezTo>
                <a:cubicBezTo>
                  <a:pt x="554831" y="550068"/>
                  <a:pt x="523875" y="519112"/>
                  <a:pt x="523875" y="478631"/>
                </a:cubicBezTo>
                <a:lnTo>
                  <a:pt x="523875" y="431006"/>
                </a:lnTo>
                <a:cubicBezTo>
                  <a:pt x="523875" y="390524"/>
                  <a:pt x="554831" y="359568"/>
                  <a:pt x="595313" y="359568"/>
                </a:cubicBezTo>
                <a:close/>
                <a:moveTo>
                  <a:pt x="428625" y="359568"/>
                </a:moveTo>
                <a:lnTo>
                  <a:pt x="476250" y="359568"/>
                </a:lnTo>
                <a:lnTo>
                  <a:pt x="476250" y="550068"/>
                </a:lnTo>
                <a:lnTo>
                  <a:pt x="428625" y="550068"/>
                </a:lnTo>
                <a:close/>
                <a:moveTo>
                  <a:pt x="309563" y="359568"/>
                </a:moveTo>
                <a:cubicBezTo>
                  <a:pt x="350044" y="359568"/>
                  <a:pt x="381000" y="390524"/>
                  <a:pt x="381000" y="431006"/>
                </a:cubicBezTo>
                <a:lnTo>
                  <a:pt x="381000" y="478631"/>
                </a:lnTo>
                <a:cubicBezTo>
                  <a:pt x="381000" y="519112"/>
                  <a:pt x="350044" y="550068"/>
                  <a:pt x="309563" y="550068"/>
                </a:cubicBezTo>
                <a:cubicBezTo>
                  <a:pt x="269081" y="550068"/>
                  <a:pt x="238125" y="519112"/>
                  <a:pt x="238125" y="478631"/>
                </a:cubicBezTo>
                <a:lnTo>
                  <a:pt x="238125" y="431006"/>
                </a:lnTo>
                <a:cubicBezTo>
                  <a:pt x="238125" y="390524"/>
                  <a:pt x="269081" y="359568"/>
                  <a:pt x="309563" y="359568"/>
                </a:cubicBezTo>
                <a:close/>
                <a:moveTo>
                  <a:pt x="142875" y="359568"/>
                </a:moveTo>
                <a:lnTo>
                  <a:pt x="190500" y="359568"/>
                </a:lnTo>
                <a:lnTo>
                  <a:pt x="190500" y="550068"/>
                </a:lnTo>
                <a:lnTo>
                  <a:pt x="142875" y="550068"/>
                </a:lnTo>
                <a:close/>
                <a:moveTo>
                  <a:pt x="26194" y="359568"/>
                </a:moveTo>
                <a:cubicBezTo>
                  <a:pt x="66675" y="359568"/>
                  <a:pt x="97631" y="390524"/>
                  <a:pt x="97631" y="431006"/>
                </a:cubicBezTo>
                <a:lnTo>
                  <a:pt x="97631" y="478631"/>
                </a:lnTo>
                <a:cubicBezTo>
                  <a:pt x="97631" y="519112"/>
                  <a:pt x="66675" y="550068"/>
                  <a:pt x="26194" y="550068"/>
                </a:cubicBezTo>
                <a:cubicBezTo>
                  <a:pt x="19050" y="550068"/>
                  <a:pt x="9525" y="547687"/>
                  <a:pt x="2381" y="545305"/>
                </a:cubicBezTo>
                <a:lnTo>
                  <a:pt x="2381" y="478631"/>
                </a:lnTo>
                <a:cubicBezTo>
                  <a:pt x="2381" y="492918"/>
                  <a:pt x="14287" y="502443"/>
                  <a:pt x="26194" y="502443"/>
                </a:cubicBezTo>
                <a:cubicBezTo>
                  <a:pt x="40481" y="502443"/>
                  <a:pt x="50006" y="492918"/>
                  <a:pt x="50006" y="478631"/>
                </a:cubicBezTo>
                <a:lnTo>
                  <a:pt x="50006" y="431006"/>
                </a:lnTo>
                <a:cubicBezTo>
                  <a:pt x="50006" y="416718"/>
                  <a:pt x="40481" y="407193"/>
                  <a:pt x="26194" y="407193"/>
                </a:cubicBezTo>
                <a:cubicBezTo>
                  <a:pt x="11906" y="407193"/>
                  <a:pt x="2381" y="416718"/>
                  <a:pt x="2381" y="431006"/>
                </a:cubicBezTo>
                <a:lnTo>
                  <a:pt x="2381" y="364330"/>
                </a:lnTo>
                <a:cubicBezTo>
                  <a:pt x="11906" y="361949"/>
                  <a:pt x="19050" y="359568"/>
                  <a:pt x="26194" y="359568"/>
                </a:cubicBezTo>
                <a:close/>
                <a:moveTo>
                  <a:pt x="714375" y="207168"/>
                </a:moveTo>
                <a:lnTo>
                  <a:pt x="714375" y="240506"/>
                </a:lnTo>
                <a:cubicBezTo>
                  <a:pt x="714375" y="254793"/>
                  <a:pt x="723900" y="264318"/>
                  <a:pt x="738188" y="264318"/>
                </a:cubicBezTo>
                <a:cubicBezTo>
                  <a:pt x="752475" y="264318"/>
                  <a:pt x="762000" y="257174"/>
                  <a:pt x="762000" y="242887"/>
                </a:cubicBezTo>
                <a:lnTo>
                  <a:pt x="762000" y="309562"/>
                </a:lnTo>
                <a:cubicBezTo>
                  <a:pt x="754856" y="311943"/>
                  <a:pt x="745331" y="314324"/>
                  <a:pt x="738188" y="314324"/>
                </a:cubicBezTo>
                <a:cubicBezTo>
                  <a:pt x="700087" y="314324"/>
                  <a:pt x="666750" y="283368"/>
                  <a:pt x="666750" y="242887"/>
                </a:cubicBezTo>
                <a:lnTo>
                  <a:pt x="666750" y="238124"/>
                </a:lnTo>
                <a:close/>
                <a:moveTo>
                  <a:pt x="285750" y="178593"/>
                </a:moveTo>
                <a:lnTo>
                  <a:pt x="333375" y="209549"/>
                </a:lnTo>
                <a:lnTo>
                  <a:pt x="333375" y="311943"/>
                </a:lnTo>
                <a:lnTo>
                  <a:pt x="285750" y="311943"/>
                </a:lnTo>
                <a:close/>
                <a:moveTo>
                  <a:pt x="214313" y="138112"/>
                </a:moveTo>
                <a:cubicBezTo>
                  <a:pt x="228600" y="152399"/>
                  <a:pt x="238125" y="171449"/>
                  <a:pt x="238125" y="195262"/>
                </a:cubicBezTo>
                <a:lnTo>
                  <a:pt x="238125" y="242887"/>
                </a:lnTo>
                <a:cubicBezTo>
                  <a:pt x="238125" y="283368"/>
                  <a:pt x="207169" y="314324"/>
                  <a:pt x="166688" y="314324"/>
                </a:cubicBezTo>
                <a:cubicBezTo>
                  <a:pt x="126206" y="314324"/>
                  <a:pt x="95250" y="283368"/>
                  <a:pt x="95250" y="242887"/>
                </a:cubicBezTo>
                <a:lnTo>
                  <a:pt x="142875" y="200024"/>
                </a:lnTo>
                <a:lnTo>
                  <a:pt x="142875" y="242887"/>
                </a:lnTo>
                <a:cubicBezTo>
                  <a:pt x="142875" y="257175"/>
                  <a:pt x="154781" y="266699"/>
                  <a:pt x="166688" y="266699"/>
                </a:cubicBezTo>
                <a:cubicBezTo>
                  <a:pt x="180975" y="266699"/>
                  <a:pt x="190500" y="257175"/>
                  <a:pt x="190500" y="242887"/>
                </a:cubicBezTo>
                <a:lnTo>
                  <a:pt x="190500" y="195262"/>
                </a:lnTo>
                <a:cubicBezTo>
                  <a:pt x="190500" y="183356"/>
                  <a:pt x="185738" y="173831"/>
                  <a:pt x="176213" y="171449"/>
                </a:cubicBezTo>
                <a:close/>
                <a:moveTo>
                  <a:pt x="209550" y="0"/>
                </a:moveTo>
                <a:lnTo>
                  <a:pt x="538163" y="211931"/>
                </a:lnTo>
                <a:lnTo>
                  <a:pt x="571500" y="174116"/>
                </a:lnTo>
                <a:lnTo>
                  <a:pt x="571500" y="173831"/>
                </a:lnTo>
                <a:lnTo>
                  <a:pt x="571751" y="173831"/>
                </a:lnTo>
                <a:lnTo>
                  <a:pt x="683011" y="47625"/>
                </a:lnTo>
                <a:lnTo>
                  <a:pt x="640556" y="47625"/>
                </a:lnTo>
                <a:lnTo>
                  <a:pt x="640556" y="0"/>
                </a:lnTo>
                <a:lnTo>
                  <a:pt x="762000" y="0"/>
                </a:lnTo>
                <a:lnTo>
                  <a:pt x="762000" y="119063"/>
                </a:lnTo>
                <a:lnTo>
                  <a:pt x="714375" y="119063"/>
                </a:lnTo>
                <a:lnTo>
                  <a:pt x="714375" y="83374"/>
                </a:lnTo>
                <a:lnTo>
                  <a:pt x="545306" y="273844"/>
                </a:lnTo>
                <a:lnTo>
                  <a:pt x="211931" y="59531"/>
                </a:lnTo>
                <a:lnTo>
                  <a:pt x="0" y="240506"/>
                </a:lnTo>
                <a:lnTo>
                  <a:pt x="0" y="176213"/>
                </a:lnTo>
                <a:close/>
              </a:path>
            </a:pathLst>
          </a:custGeom>
          <a:solidFill>
            <a:srgbClr val="7823DC"/>
          </a:solidFill>
          <a:ln w="23813" cap="flat">
            <a:noFill/>
            <a:prstDash val="solid"/>
            <a:miter/>
          </a:ln>
        </p:spPr>
        <p:txBody>
          <a:bodyPr rtlCol="0" anchor="ctr"/>
          <a:lstStyle/>
          <a:p>
            <a:endParaRPr lang="en-US" sz="600"/>
          </a:p>
        </p:txBody>
      </p:sp>
      <p:pic>
        <p:nvPicPr>
          <p:cNvPr id="12" name="Graphic 11">
            <a:extLst>
              <a:ext uri="{FF2B5EF4-FFF2-40B4-BE49-F238E27FC236}">
                <a16:creationId xmlns:a16="http://schemas.microsoft.com/office/drawing/2014/main" id="{0D8F2F5B-48FA-075E-9267-43D9B45EBB2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141711" y="3595723"/>
            <a:ext cx="360000" cy="360000"/>
          </a:xfrm>
          <a:prstGeom prst="rect">
            <a:avLst/>
          </a:prstGeom>
        </p:spPr>
      </p:pic>
      <p:pic>
        <p:nvPicPr>
          <p:cNvPr id="13" name="Graphic 12">
            <a:extLst>
              <a:ext uri="{FF2B5EF4-FFF2-40B4-BE49-F238E27FC236}">
                <a16:creationId xmlns:a16="http://schemas.microsoft.com/office/drawing/2014/main" id="{77D38895-2766-D957-D392-0C4A4895390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41711" y="4606756"/>
            <a:ext cx="360000" cy="360000"/>
          </a:xfrm>
          <a:prstGeom prst="rect">
            <a:avLst/>
          </a:prstGeom>
        </p:spPr>
      </p:pic>
      <p:pic>
        <p:nvPicPr>
          <p:cNvPr id="14" name="Graphic 13">
            <a:extLst>
              <a:ext uri="{FF2B5EF4-FFF2-40B4-BE49-F238E27FC236}">
                <a16:creationId xmlns:a16="http://schemas.microsoft.com/office/drawing/2014/main" id="{80418A61-6640-6E6B-923E-506F051C684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V="1">
            <a:off x="4141711" y="1573657"/>
            <a:ext cx="360000" cy="360000"/>
          </a:xfrm>
          <a:prstGeom prst="rect">
            <a:avLst/>
          </a:prstGeom>
        </p:spPr>
      </p:pic>
      <p:pic>
        <p:nvPicPr>
          <p:cNvPr id="15" name="Picture 14" descr="A purple and black logo&#10;&#10;AI-generated content may be incorrect.">
            <a:extLst>
              <a:ext uri="{FF2B5EF4-FFF2-40B4-BE49-F238E27FC236}">
                <a16:creationId xmlns:a16="http://schemas.microsoft.com/office/drawing/2014/main" id="{C3455F0B-2E97-C74D-D377-9B269BC6B22E}"/>
              </a:ext>
            </a:extLst>
          </p:cNvPr>
          <p:cNvPicPr>
            <a:picLocks noChangeAspect="1"/>
          </p:cNvPicPr>
          <p:nvPr/>
        </p:nvPicPr>
        <p:blipFill>
          <a:blip r:embed="rId12"/>
          <a:stretch>
            <a:fillRect/>
          </a:stretch>
        </p:blipFill>
        <p:spPr>
          <a:xfrm>
            <a:off x="4141711" y="2584690"/>
            <a:ext cx="360000" cy="360000"/>
          </a:xfrm>
          <a:prstGeom prst="rect">
            <a:avLst/>
          </a:prstGeom>
        </p:spPr>
      </p:pic>
      <p:graphicFrame>
        <p:nvGraphicFramePr>
          <p:cNvPr id="16" name="Table 15">
            <a:extLst>
              <a:ext uri="{FF2B5EF4-FFF2-40B4-BE49-F238E27FC236}">
                <a16:creationId xmlns:a16="http://schemas.microsoft.com/office/drawing/2014/main" id="{420C2625-11A4-8D10-C1FC-EB62F2374FE9}"/>
              </a:ext>
            </a:extLst>
          </p:cNvPr>
          <p:cNvGraphicFramePr>
            <a:graphicFrameLocks noGrp="1"/>
          </p:cNvGraphicFramePr>
          <p:nvPr>
            <p:extLst>
              <p:ext uri="{D42A27DB-BD31-4B8C-83A1-F6EECF244321}">
                <p14:modId xmlns:p14="http://schemas.microsoft.com/office/powerpoint/2010/main" val="2355712626"/>
              </p:ext>
            </p:extLst>
          </p:nvPr>
        </p:nvGraphicFramePr>
        <p:xfrm>
          <a:off x="8001000" y="1055910"/>
          <a:ext cx="3810000" cy="5166360"/>
        </p:xfrm>
        <a:graphic>
          <a:graphicData uri="http://schemas.openxmlformats.org/drawingml/2006/table">
            <a:tbl>
              <a:tblPr firstRow="1" bandRow="1">
                <a:tableStyleId>{5C22544A-7EE6-4342-B048-85BDC9FD1C3A}</a:tableStyleId>
              </a:tblPr>
              <a:tblGrid>
                <a:gridCol w="1171855">
                  <a:extLst>
                    <a:ext uri="{9D8B030D-6E8A-4147-A177-3AD203B41FA5}">
                      <a16:colId xmlns:a16="http://schemas.microsoft.com/office/drawing/2014/main" val="1023395582"/>
                    </a:ext>
                  </a:extLst>
                </a:gridCol>
                <a:gridCol w="2638145">
                  <a:extLst>
                    <a:ext uri="{9D8B030D-6E8A-4147-A177-3AD203B41FA5}">
                      <a16:colId xmlns:a16="http://schemas.microsoft.com/office/drawing/2014/main" val="2127836981"/>
                    </a:ext>
                  </a:extLst>
                </a:gridCol>
              </a:tblGrid>
              <a:tr h="1291590">
                <a:tc>
                  <a:txBody>
                    <a:bodyPr/>
                    <a:lstStyle/>
                    <a:p>
                      <a:pPr algn="l">
                        <a:lnSpc>
                          <a:spcPct val="90000"/>
                        </a:lnSpc>
                      </a:pPr>
                      <a:r>
                        <a:rPr lang="en-US" sz="1200" b="1" spc="0" dirty="0">
                          <a:solidFill>
                            <a:schemeClr val="tx1"/>
                          </a:solidFill>
                          <a:latin typeface="Arial"/>
                        </a:rPr>
                        <a:t>Target Goods </a:t>
                      </a:r>
                    </a:p>
                  </a:txBody>
                  <a:tcPr marL="35941" marR="35941">
                    <a:lnL w="28575" cap="flat" cmpd="sng" algn="ctr">
                      <a:no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rtl="0">
                        <a:lnSpc>
                          <a:spcPct val="90000"/>
                        </a:lnSpc>
                        <a:spcBef>
                          <a:spcPts val="0"/>
                        </a:spcBef>
                        <a:spcAft>
                          <a:spcPts val="0"/>
                        </a:spcAft>
                        <a:buClr>
                          <a:schemeClr val="tx1"/>
                        </a:buClr>
                        <a:buSzTx/>
                        <a:buFontTx/>
                        <a:buChar char="+"/>
                      </a:pPr>
                      <a:r>
                        <a:rPr lang="en-US" sz="1200" b="0" spc="0" dirty="0">
                          <a:solidFill>
                            <a:schemeClr val="tx1"/>
                          </a:solidFill>
                          <a:latin typeface="Arial"/>
                        </a:rPr>
                        <a:t>Sales stable but revenue slightly down.</a:t>
                      </a:r>
                    </a:p>
                    <a:p>
                      <a:pPr marL="171450" marR="0" lvl="0" indent="-171450" algn="l" rtl="0" eaLnBrk="1" fontAlgn="auto" latinLnBrk="0" hangingPunct="1">
                        <a:lnSpc>
                          <a:spcPct val="90000"/>
                        </a:lnSpc>
                        <a:spcBef>
                          <a:spcPts val="0"/>
                        </a:spcBef>
                        <a:spcAft>
                          <a:spcPts val="0"/>
                        </a:spcAft>
                        <a:buClr>
                          <a:schemeClr val="tx1"/>
                        </a:buClr>
                        <a:buSzTx/>
                        <a:buFontTx/>
                        <a:buChar char="+"/>
                      </a:pPr>
                      <a:r>
                        <a:rPr lang="en-US" sz="1200" b="0" spc="0" dirty="0">
                          <a:solidFill>
                            <a:schemeClr val="tx1"/>
                          </a:solidFill>
                          <a:latin typeface="Arial"/>
                        </a:rPr>
                        <a:t>Profitability improved from –</a:t>
                      </a:r>
                      <a:r>
                        <a:rPr lang="en-US" sz="1200" b="0" spc="0" dirty="0" err="1">
                          <a:solidFill>
                            <a:schemeClr val="tx1"/>
                          </a:solidFill>
                          <a:latin typeface="Arial"/>
                        </a:rPr>
                        <a:t>ve</a:t>
                      </a:r>
                      <a:r>
                        <a:rPr lang="en-US" sz="1200" b="0" spc="0" dirty="0">
                          <a:solidFill>
                            <a:schemeClr val="tx1"/>
                          </a:solidFill>
                          <a:latin typeface="Arial"/>
                        </a:rPr>
                        <a:t> to +</a:t>
                      </a:r>
                      <a:r>
                        <a:rPr lang="en-US" sz="1200" b="0" spc="0" dirty="0" err="1">
                          <a:solidFill>
                            <a:schemeClr val="tx1"/>
                          </a:solidFill>
                          <a:latin typeface="Arial"/>
                        </a:rPr>
                        <a:t>ve</a:t>
                      </a:r>
                      <a:r>
                        <a:rPr lang="en-US" sz="1200" b="0" spc="0" dirty="0">
                          <a:solidFill>
                            <a:schemeClr val="tx1"/>
                          </a:solidFill>
                          <a:latin typeface="Arial"/>
                        </a:rPr>
                        <a:t>.</a:t>
                      </a:r>
                      <a:endParaRPr kumimoji="0" lang="en-US" sz="1200" b="0" spc="0" dirty="0">
                        <a:solidFill>
                          <a:schemeClr val="tx1"/>
                        </a:solidFill>
                        <a:latin typeface="Arial"/>
                      </a:endParaRPr>
                    </a:p>
                  </a:txBody>
                  <a:tcPr marL="35941" marR="35941">
                    <a:lnL w="0" cap="flat" cmpd="sng" algn="ctr">
                      <a:solidFill>
                        <a:schemeClr val="tx1">
                          <a:alpha val="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3673560380"/>
                  </a:ext>
                </a:extLst>
              </a:tr>
              <a:tr h="1291590">
                <a:tc>
                  <a:txBody>
                    <a:bodyPr/>
                    <a:lstStyle/>
                    <a:p>
                      <a:pPr algn="l">
                        <a:lnSpc>
                          <a:spcPct val="90000"/>
                        </a:lnSpc>
                      </a:pPr>
                      <a:r>
                        <a:rPr lang="en-US" sz="1200" b="1" spc="0" dirty="0">
                          <a:solidFill>
                            <a:schemeClr val="tx1"/>
                          </a:solidFill>
                          <a:latin typeface="Arial"/>
                        </a:rPr>
                        <a:t>Durable Goods</a:t>
                      </a:r>
                    </a:p>
                  </a:txBody>
                  <a:tcPr marL="35941" marR="35941">
                    <a:lnL w="28575" cap="flat" cmpd="sng" algn="ctr">
                      <a:no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defTabSz="914400" rtl="0" eaLnBrk="1" fontAlgn="auto" latinLnBrk="0" hangingPunct="1">
                        <a:lnSpc>
                          <a:spcPct val="90000"/>
                        </a:lnSpc>
                        <a:spcBef>
                          <a:spcPts val="0"/>
                        </a:spcBef>
                        <a:spcAft>
                          <a:spcPts val="0"/>
                        </a:spcAft>
                        <a:buClr>
                          <a:schemeClr val="tx1"/>
                        </a:buClr>
                        <a:buSzTx/>
                        <a:buFontTx/>
                        <a:buChar char="+"/>
                        <a:tabLst/>
                        <a:defRPr/>
                      </a:pPr>
                      <a:r>
                        <a:rPr lang="en-US" sz="1200" b="0" spc="0" dirty="0">
                          <a:solidFill>
                            <a:schemeClr val="tx1"/>
                          </a:solidFill>
                          <a:latin typeface="Arial"/>
                        </a:rPr>
                        <a:t>Sales stable, maintaining market presence.</a:t>
                      </a:r>
                      <a:endParaRPr lang="en-IN" sz="1200" b="0" spc="0" dirty="0">
                        <a:solidFill>
                          <a:schemeClr val="tx1"/>
                        </a:solidFill>
                        <a:latin typeface="Arial"/>
                      </a:endParaRPr>
                    </a:p>
                  </a:txBody>
                  <a:tcPr marL="35941" marR="35941">
                    <a:lnL w="0" cap="flat" cmpd="sng" algn="ctr">
                      <a:solidFill>
                        <a:schemeClr val="tx1">
                          <a:alpha val="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3161616919"/>
                  </a:ext>
                </a:extLst>
              </a:tr>
              <a:tr h="1291590">
                <a:tc>
                  <a:txBody>
                    <a:bodyPr/>
                    <a:lstStyle/>
                    <a:p>
                      <a:pPr lvl="0" algn="l">
                        <a:lnSpc>
                          <a:spcPct val="90000"/>
                        </a:lnSpc>
                        <a:buNone/>
                      </a:pPr>
                      <a:r>
                        <a:rPr lang="en-US" sz="1200" b="1" spc="0" dirty="0">
                          <a:solidFill>
                            <a:schemeClr val="tx1"/>
                          </a:solidFill>
                          <a:latin typeface="Arial"/>
                        </a:rPr>
                        <a:t>Fast-moving Goods</a:t>
                      </a:r>
                    </a:p>
                  </a:txBody>
                  <a:tcPr marL="35941" marR="35941">
                    <a:lnL w="28575" cap="flat" cmpd="sng" algn="ctr">
                      <a:no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rtl="0" eaLnBrk="1" fontAlgn="auto" latinLnBrk="0" hangingPunct="1">
                        <a:lnSpc>
                          <a:spcPct val="90000"/>
                        </a:lnSpc>
                        <a:spcBef>
                          <a:spcPts val="0"/>
                        </a:spcBef>
                        <a:spcAft>
                          <a:spcPts val="0"/>
                        </a:spcAft>
                        <a:buClr>
                          <a:schemeClr val="tx1"/>
                        </a:buClr>
                        <a:buSzTx/>
                        <a:buFontTx/>
                        <a:buChar char="+"/>
                      </a:pPr>
                      <a:r>
                        <a:rPr lang="en-US" sz="1200" b="0" spc="0" dirty="0">
                          <a:solidFill>
                            <a:schemeClr val="tx1"/>
                          </a:solidFill>
                          <a:latin typeface="Arial"/>
                        </a:rPr>
                        <a:t>Sales inched up by one percent. </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a:txBody>
                  <a:tcPr marL="35941" marR="35941">
                    <a:lnL w="0" cap="flat" cmpd="sng" algn="ctr">
                      <a:solidFill>
                        <a:schemeClr val="tx1">
                          <a:alpha val="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588596244"/>
                  </a:ext>
                </a:extLst>
              </a:tr>
              <a:tr h="1291590">
                <a:tc>
                  <a:txBody>
                    <a:bodyPr/>
                    <a:lstStyle/>
                    <a:p>
                      <a:pPr algn="l">
                        <a:lnSpc>
                          <a:spcPct val="90000"/>
                        </a:lnSpc>
                      </a:pPr>
                      <a:r>
                        <a:rPr lang="en-IN" sz="1200" b="1" spc="0" dirty="0">
                          <a:solidFill>
                            <a:schemeClr val="tx1"/>
                          </a:solidFill>
                          <a:latin typeface="Arial"/>
                        </a:rPr>
                        <a:t>Profit</a:t>
                      </a:r>
                      <a:endParaRPr lang="en-US" sz="1200" b="1" spc="0" dirty="0">
                        <a:solidFill>
                          <a:schemeClr val="tx1"/>
                        </a:solidFill>
                        <a:latin typeface="Arial"/>
                      </a:endParaRPr>
                    </a:p>
                  </a:txBody>
                  <a:tcPr marL="35941" marR="35941">
                    <a:lnL w="28575" cap="flat" cmpd="sng" algn="ctr">
                      <a:no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171450" marR="0" lvl="0" indent="-171450" algn="l" rtl="0" eaLnBrk="1" fontAlgn="auto" latinLnBrk="0" hangingPunct="1">
                        <a:lnSpc>
                          <a:spcPct val="90000"/>
                        </a:lnSpc>
                        <a:spcBef>
                          <a:spcPts val="0"/>
                        </a:spcBef>
                        <a:spcAft>
                          <a:spcPts val="0"/>
                        </a:spcAft>
                        <a:buClr>
                          <a:schemeClr val="tx1"/>
                        </a:buClr>
                        <a:buSzTx/>
                        <a:buFontTx/>
                        <a:buChar char="+"/>
                      </a:pPr>
                      <a:r>
                        <a:rPr lang="en-IN" sz="1200" b="0" spc="0" dirty="0">
                          <a:solidFill>
                            <a:schemeClr val="tx1"/>
                          </a:solidFill>
                          <a:latin typeface="Arial"/>
                        </a:rPr>
                        <a:t>Durable Goods trending up.</a:t>
                      </a:r>
                    </a:p>
                    <a:p>
                      <a:pPr marL="171450" marR="0" lvl="0" indent="-171450" algn="l" rtl="0" eaLnBrk="1" fontAlgn="auto" latinLnBrk="0" hangingPunct="1">
                        <a:lnSpc>
                          <a:spcPct val="90000"/>
                        </a:lnSpc>
                        <a:spcBef>
                          <a:spcPts val="0"/>
                        </a:spcBef>
                        <a:spcAft>
                          <a:spcPts val="0"/>
                        </a:spcAft>
                        <a:buClr>
                          <a:schemeClr val="tx1"/>
                        </a:buClr>
                        <a:buSzTx/>
                        <a:buFontTx/>
                        <a:buChar char="+"/>
                      </a:pPr>
                      <a:r>
                        <a:rPr lang="en-IN" sz="1200" b="0" spc="0" dirty="0">
                          <a:solidFill>
                            <a:schemeClr val="tx1"/>
                          </a:solidFill>
                          <a:latin typeface="Arial"/>
                        </a:rPr>
                        <a:t>Fast-moving Goods facing pressure.</a:t>
                      </a:r>
                    </a:p>
                  </a:txBody>
                  <a:tcPr marL="35941" marR="35941">
                    <a:lnL w="0" cap="flat" cmpd="sng" algn="ctr">
                      <a:solidFill>
                        <a:schemeClr val="tx1">
                          <a:alpha val="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3118320191"/>
                  </a:ext>
                </a:extLst>
              </a:tr>
            </a:tbl>
          </a:graphicData>
        </a:graphic>
      </p:graphicFrame>
      <p:pic>
        <p:nvPicPr>
          <p:cNvPr id="17" name="Graphic 16">
            <a:extLst>
              <a:ext uri="{FF2B5EF4-FFF2-40B4-BE49-F238E27FC236}">
                <a16:creationId xmlns:a16="http://schemas.microsoft.com/office/drawing/2014/main" id="{E9F438FB-2A89-62C5-7129-EBBA88323E8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30555" y="3123954"/>
            <a:ext cx="356616" cy="356616"/>
          </a:xfrm>
          <a:prstGeom prst="rect">
            <a:avLst/>
          </a:prstGeom>
        </p:spPr>
      </p:pic>
      <p:pic>
        <p:nvPicPr>
          <p:cNvPr id="18" name="Graphic 17">
            <a:extLst>
              <a:ext uri="{FF2B5EF4-FFF2-40B4-BE49-F238E27FC236}">
                <a16:creationId xmlns:a16="http://schemas.microsoft.com/office/drawing/2014/main" id="{897F5D86-88D0-AFAB-6B24-CF73181A6C9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730555" y="4426421"/>
            <a:ext cx="356616" cy="356616"/>
          </a:xfrm>
          <a:prstGeom prst="rect">
            <a:avLst/>
          </a:prstGeom>
        </p:spPr>
      </p:pic>
      <p:pic>
        <p:nvPicPr>
          <p:cNvPr id="21" name="Graphic 20">
            <a:extLst>
              <a:ext uri="{FF2B5EF4-FFF2-40B4-BE49-F238E27FC236}">
                <a16:creationId xmlns:a16="http://schemas.microsoft.com/office/drawing/2014/main" id="{05EAB579-4FC1-8444-0C97-F779AF4ADF2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733408" y="1821487"/>
            <a:ext cx="350910" cy="356616"/>
          </a:xfrm>
          <a:prstGeom prst="rect">
            <a:avLst/>
          </a:prstGeom>
        </p:spPr>
      </p:pic>
      <p:pic>
        <p:nvPicPr>
          <p:cNvPr id="22" name="Graphic 21">
            <a:extLst>
              <a:ext uri="{FF2B5EF4-FFF2-40B4-BE49-F238E27FC236}">
                <a16:creationId xmlns:a16="http://schemas.microsoft.com/office/drawing/2014/main" id="{59824111-F5F2-0B18-74DD-9214C9C094B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8730555" y="5728888"/>
            <a:ext cx="356616" cy="356616"/>
          </a:xfrm>
          <a:prstGeom prst="rect">
            <a:avLst/>
          </a:prstGeom>
        </p:spPr>
      </p:pic>
    </p:spTree>
    <p:extLst>
      <p:ext uri="{BB962C8B-B14F-4D97-AF65-F5344CB8AC3E}">
        <p14:creationId xmlns:p14="http://schemas.microsoft.com/office/powerpoint/2010/main" val="751887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2CDCE4-7A9A-3761-B463-F92703863AA2}"/>
              </a:ext>
            </a:extLst>
          </p:cNvPr>
          <p:cNvGraphicFramePr>
            <a:graphicFrameLocks noChangeAspect="1"/>
          </p:cNvGraphicFramePr>
          <p:nvPr>
            <p:custDataLst>
              <p:tags r:id="rId1"/>
            </p:custDataLst>
            <p:extLst>
              <p:ext uri="{D42A27DB-BD31-4B8C-83A1-F6EECF244321}">
                <p14:modId xmlns:p14="http://schemas.microsoft.com/office/powerpoint/2010/main" val="2287431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A72CDCE4-7A9A-3761-B463-F92703863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F408AC-5677-7942-724A-7936AA397733}"/>
              </a:ext>
            </a:extLst>
          </p:cNvPr>
          <p:cNvSpPr>
            <a:spLocks noGrp="1"/>
          </p:cNvSpPr>
          <p:nvPr>
            <p:ph type="title"/>
          </p:nvPr>
        </p:nvSpPr>
        <p:spPr/>
        <p:txBody>
          <a:bodyPr vert="horz"/>
          <a:lstStyle/>
          <a:p>
            <a:r>
              <a:rPr lang="en-US"/>
              <a:t>Assessing Value Chain Impact of Exiting In-House Production</a:t>
            </a:r>
            <a:br>
              <a:rPr lang="en-US"/>
            </a:br>
            <a:endParaRPr lang="en-US"/>
          </a:p>
        </p:txBody>
      </p:sp>
      <p:pic>
        <p:nvPicPr>
          <p:cNvPr id="8" name="Picture Placeholder 7" descr="A warehouse with pallets and boxes&#10;&#10;Description automatically generated">
            <a:extLst>
              <a:ext uri="{FF2B5EF4-FFF2-40B4-BE49-F238E27FC236}">
                <a16:creationId xmlns:a16="http://schemas.microsoft.com/office/drawing/2014/main" id="{E8581D05-1EBE-38C7-BE57-8337EBBC6B98}"/>
              </a:ext>
            </a:extLst>
          </p:cNvPr>
          <p:cNvPicPr>
            <a:picLocks noGrp="1" noChangeAspect="1"/>
          </p:cNvPicPr>
          <p:nvPr>
            <p:ph type="pic" sz="quarter" idx="42"/>
          </p:nvPr>
        </p:nvPicPr>
        <p:blipFill>
          <a:blip r:embed="rId5" cstate="email">
            <a:extLst>
              <a:ext uri="{28A0092B-C50C-407E-A947-70E740481C1C}">
                <a14:useLocalDpi xmlns:a14="http://schemas.microsoft.com/office/drawing/2010/main"/>
              </a:ext>
            </a:extLst>
          </a:blip>
          <a:srcRect l="5752" r="5752"/>
          <a:stretch/>
        </p:blipFill>
        <p:spPr bwMode="gray">
          <a:xfrm>
            <a:off x="6477000" y="0"/>
            <a:ext cx="5715000" cy="6858000"/>
          </a:xfrm>
          <a:custGeom>
            <a:avLst/>
            <a:gdLst>
              <a:gd name="connsiteX0" fmla="*/ 0 w 5629275"/>
              <a:gd name="connsiteY0" fmla="*/ 0 h 6858000"/>
              <a:gd name="connsiteX1" fmla="*/ 5629275 w 5629275"/>
              <a:gd name="connsiteY1" fmla="*/ 0 h 6858000"/>
              <a:gd name="connsiteX2" fmla="*/ 5629275 w 5629275"/>
              <a:gd name="connsiteY2" fmla="*/ 1423986 h 6858000"/>
              <a:gd name="connsiteX3" fmla="*/ 1566860 w 5629275"/>
              <a:gd name="connsiteY3" fmla="*/ 1423986 h 6858000"/>
              <a:gd name="connsiteX4" fmla="*/ 1566860 w 5629275"/>
              <a:gd name="connsiteY4" fmla="*/ 2709861 h 6858000"/>
              <a:gd name="connsiteX5" fmla="*/ 5072061 w 5629275"/>
              <a:gd name="connsiteY5" fmla="*/ 2709861 h 6858000"/>
              <a:gd name="connsiteX6" fmla="*/ 5072061 w 5629275"/>
              <a:gd name="connsiteY6" fmla="*/ 4204704 h 6858000"/>
              <a:gd name="connsiteX7" fmla="*/ 1566860 w 5629275"/>
              <a:gd name="connsiteY7" fmla="*/ 4204704 h 6858000"/>
              <a:gd name="connsiteX8" fmla="*/ 1566860 w 5629275"/>
              <a:gd name="connsiteY8" fmla="*/ 5386387 h 6858000"/>
              <a:gd name="connsiteX9" fmla="*/ 5629275 w 5629275"/>
              <a:gd name="connsiteY9" fmla="*/ 5386387 h 6858000"/>
              <a:gd name="connsiteX10" fmla="*/ 5629275 w 5629275"/>
              <a:gd name="connsiteY10" fmla="*/ 6858000 h 6858000"/>
              <a:gd name="connsiteX11" fmla="*/ 0 w 5629275"/>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9275" h="6858000">
                <a:moveTo>
                  <a:pt x="0" y="0"/>
                </a:moveTo>
                <a:lnTo>
                  <a:pt x="5629275" y="0"/>
                </a:lnTo>
                <a:lnTo>
                  <a:pt x="5629275" y="1423986"/>
                </a:lnTo>
                <a:lnTo>
                  <a:pt x="1566860" y="1423986"/>
                </a:lnTo>
                <a:lnTo>
                  <a:pt x="1566860" y="2709861"/>
                </a:lnTo>
                <a:lnTo>
                  <a:pt x="5072061" y="2709861"/>
                </a:lnTo>
                <a:lnTo>
                  <a:pt x="5072061" y="4204704"/>
                </a:lnTo>
                <a:lnTo>
                  <a:pt x="1566860" y="4204704"/>
                </a:lnTo>
                <a:lnTo>
                  <a:pt x="1566860" y="5386387"/>
                </a:lnTo>
                <a:lnTo>
                  <a:pt x="5629275" y="5386387"/>
                </a:lnTo>
                <a:lnTo>
                  <a:pt x="5629275" y="6858000"/>
                </a:lnTo>
                <a:lnTo>
                  <a:pt x="0" y="6858000"/>
                </a:lnTo>
                <a:close/>
              </a:path>
            </a:pathLst>
          </a:custGeom>
          <a:noFill/>
        </p:spPr>
      </p:pic>
    </p:spTree>
    <p:extLst>
      <p:ext uri="{BB962C8B-B14F-4D97-AF65-F5344CB8AC3E}">
        <p14:creationId xmlns:p14="http://schemas.microsoft.com/office/powerpoint/2010/main" val="81456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C481A-7082-3451-BDB0-195CBC56A45E}"/>
              </a:ext>
            </a:extLst>
          </p:cNvPr>
          <p:cNvGraphicFramePr>
            <a:graphicFrameLocks noChangeAspect="1"/>
          </p:cNvGraphicFramePr>
          <p:nvPr>
            <p:custDataLst>
              <p:tags r:id="rId1"/>
            </p:custDataLst>
            <p:extLst>
              <p:ext uri="{D42A27DB-BD31-4B8C-83A1-F6EECF244321}">
                <p14:modId xmlns:p14="http://schemas.microsoft.com/office/powerpoint/2010/main" val="136903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D2EC481A-7082-3451-BDB0-195CBC56A4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1556AF-0160-97F0-1699-1FFB501D9E02}"/>
              </a:ext>
            </a:extLst>
          </p:cNvPr>
          <p:cNvSpPr>
            <a:spLocks noGrp="1"/>
          </p:cNvSpPr>
          <p:nvPr>
            <p:ph type="title"/>
          </p:nvPr>
        </p:nvSpPr>
        <p:spPr/>
        <p:txBody>
          <a:bodyPr vert="horz"/>
          <a:lstStyle/>
          <a:p>
            <a:r>
              <a:rPr lang="en-US" dirty="0"/>
              <a:t>Our client can </a:t>
            </a:r>
            <a:r>
              <a:rPr lang="en-US" dirty="0">
                <a:ea typeface="+mj-lt"/>
                <a:cs typeface="+mj-lt"/>
              </a:rPr>
              <a:t>gradually outsource production while shutting down the factory </a:t>
            </a:r>
            <a:r>
              <a:rPr lang="en-US" dirty="0" err="1">
                <a:ea typeface="+mj-lt"/>
                <a:cs typeface="+mj-lt"/>
              </a:rPr>
              <a:t>over time</a:t>
            </a:r>
            <a:r>
              <a:rPr lang="en-US" dirty="0">
                <a:ea typeface="+mj-lt"/>
                <a:cs typeface="+mj-lt"/>
              </a:rPr>
              <a:t> to reduce costs</a:t>
            </a:r>
            <a:r>
              <a:rPr lang="en-US" dirty="0"/>
              <a:t>, ensuring long-term profitability</a:t>
            </a:r>
            <a:endParaRPr lang="en-US">
              <a:cs typeface="Arial"/>
            </a:endParaRPr>
          </a:p>
        </p:txBody>
      </p:sp>
      <p:sp>
        <p:nvSpPr>
          <p:cNvPr id="5" name="TextBox 4">
            <a:extLst>
              <a:ext uri="{FF2B5EF4-FFF2-40B4-BE49-F238E27FC236}">
                <a16:creationId xmlns:a16="http://schemas.microsoft.com/office/drawing/2014/main" id="{1BF1A59B-7894-9698-8EF7-4E1BB2D2B33D}"/>
              </a:ext>
            </a:extLst>
          </p:cNvPr>
          <p:cNvSpPr txBox="1"/>
          <p:nvPr/>
        </p:nvSpPr>
        <p:spPr>
          <a:xfrm>
            <a:off x="346788" y="3733800"/>
            <a:ext cx="2286000" cy="152400"/>
          </a:xfrm>
          <a:prstGeom prst="rect">
            <a:avLst/>
          </a:prstGeom>
          <a:noFill/>
          <a:ln w="6350">
            <a:noFill/>
          </a:ln>
          <a:extLst>
            <a:ext uri="{91240B29-F687-4F45-9708-019B960494DF}">
              <a14:hiddenLine xmlns:a14="http://schemas.microsoft.com/office/drawing/2010/main" w="6350">
                <a:solidFill>
                  <a:schemeClr val="tx1"/>
                </a:solidFill>
              </a14:hiddenLine>
            </a:ext>
          </a:extLst>
        </p:spPr>
        <p:txBody>
          <a:bodyPr wrap="square" lIns="0" tIns="0" rIns="0" bIns="0" rtlCol="0" anchor="t" anchorCtr="0">
            <a:noAutofit/>
          </a:bodyPr>
          <a:lstStyle/>
          <a:p>
            <a:pPr>
              <a:lnSpc>
                <a:spcPct val="90000"/>
              </a:lnSpc>
            </a:pPr>
            <a:r>
              <a:rPr lang="en-US" sz="1100" b="1">
                <a:solidFill>
                  <a:schemeClr val="accent3"/>
                </a:solidFill>
                <a:latin typeface="Arial" panose="020B0604020202020204" pitchFamily="34" charset="0"/>
              </a:rPr>
              <a:t>Further details of numeric data in </a:t>
            </a:r>
            <a:r>
              <a:rPr lang="en-US" sz="1100" b="1">
                <a:solidFill>
                  <a:schemeClr val="accent3"/>
                </a:solidFill>
                <a:latin typeface="Arial" panose="020B0604020202020204" pitchFamily="34" charset="0"/>
                <a:hlinkClick r:id="" action="ppaction://noaction">
                  <a:extLst>
                    <a:ext uri="{A12FA001-AC4F-418D-AE19-62706E023703}">
                      <ahyp:hlinkClr xmlns:ahyp="http://schemas.microsoft.com/office/drawing/2018/hyperlinkcolor" val="tx"/>
                    </a:ext>
                  </a:extLst>
                </a:hlinkClick>
              </a:rPr>
              <a:t>Appendix 2</a:t>
            </a:r>
            <a:endParaRPr lang="en-US" sz="1100" b="1">
              <a:solidFill>
                <a:schemeClr val="accent3"/>
              </a:solidFill>
              <a:latin typeface="Arial" panose="020B0604020202020204" pitchFamily="34" charset="0"/>
            </a:endParaRPr>
          </a:p>
        </p:txBody>
      </p:sp>
      <p:sp>
        <p:nvSpPr>
          <p:cNvPr id="6" name="Rectangle 2">
            <a:extLst>
              <a:ext uri="{FF2B5EF4-FFF2-40B4-BE49-F238E27FC236}">
                <a16:creationId xmlns:a16="http://schemas.microsoft.com/office/drawing/2014/main" id="{496E3C00-B2E2-FB05-5C06-9F665B78B6BA}"/>
              </a:ext>
            </a:extLst>
          </p:cNvPr>
          <p:cNvSpPr txBox="1">
            <a:spLocks noChangeArrowheads="1"/>
          </p:cNvSpPr>
          <p:nvPr/>
        </p:nvSpPr>
        <p:spPr bwMode="gray">
          <a:xfrm>
            <a:off x="381000" y="5925312"/>
            <a:ext cx="2286000" cy="166243"/>
          </a:xfrm>
          <a:prstGeom prst="rect">
            <a:avLst/>
          </a:prstGeom>
        </p:spPr>
        <p:txBody>
          <a:bodyPr vert="horz" wrap="square" lIns="0" tIns="0" rIns="0" bIns="0" rtlCol="0" anchor="b" anchorCtr="0">
            <a:sp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pPr fontAlgn="b">
              <a:defRPr/>
            </a:pPr>
            <a:r>
              <a:rPr lang="en-US" sz="1200">
                <a:solidFill>
                  <a:schemeClr val="tx1"/>
                </a:solidFill>
                <a:latin typeface="Arial" panose="020B0604020202020204" pitchFamily="34" charset="0"/>
              </a:rPr>
              <a:t>Issue 1</a:t>
            </a:r>
          </a:p>
        </p:txBody>
      </p:sp>
      <p:sp>
        <p:nvSpPr>
          <p:cNvPr id="7" name="TextBox 6">
            <a:extLst>
              <a:ext uri="{FF2B5EF4-FFF2-40B4-BE49-F238E27FC236}">
                <a16:creationId xmlns:a16="http://schemas.microsoft.com/office/drawing/2014/main" id="{9C29B30C-B34E-E601-E1B5-D05C0BEACADD}"/>
              </a:ext>
            </a:extLst>
          </p:cNvPr>
          <p:cNvSpPr txBox="1"/>
          <p:nvPr/>
        </p:nvSpPr>
        <p:spPr>
          <a:xfrm>
            <a:off x="3429000" y="6096000"/>
            <a:ext cx="8378825" cy="381000"/>
          </a:xfrm>
          <a:prstGeom prst="rect">
            <a:avLst/>
          </a:prstGeom>
          <a:noFill/>
        </p:spPr>
        <p:txBody>
          <a:bodyPr wrap="square" lIns="0" tIns="0" rIns="0" bIns="0" anchor="b" anchorCtr="0">
            <a:noAutofit/>
          </a:bodyPr>
          <a:lstStyle/>
          <a:p>
            <a:pPr>
              <a:lnSpc>
                <a:spcPct val="90000"/>
              </a:lnSpc>
            </a:pPr>
            <a:r>
              <a:rPr lang="en-US" sz="700">
                <a:latin typeface="Arial" panose="020B0604020202020204" pitchFamily="34" charset="0"/>
              </a:rPr>
              <a:t>Source: Kearney</a:t>
            </a:r>
          </a:p>
        </p:txBody>
      </p:sp>
      <p:graphicFrame>
        <p:nvGraphicFramePr>
          <p:cNvPr id="8" name="Table 7">
            <a:extLst>
              <a:ext uri="{FF2B5EF4-FFF2-40B4-BE49-F238E27FC236}">
                <a16:creationId xmlns:a16="http://schemas.microsoft.com/office/drawing/2014/main" id="{73DA9BFE-4BE0-97C8-1F66-463E3EF213DB}"/>
              </a:ext>
            </a:extLst>
          </p:cNvPr>
          <p:cNvGraphicFramePr>
            <a:graphicFrameLocks noGrp="1"/>
          </p:cNvGraphicFramePr>
          <p:nvPr>
            <p:extLst>
              <p:ext uri="{D42A27DB-BD31-4B8C-83A1-F6EECF244321}">
                <p14:modId xmlns:p14="http://schemas.microsoft.com/office/powerpoint/2010/main" val="1779655175"/>
              </p:ext>
            </p:extLst>
          </p:nvPr>
        </p:nvGraphicFramePr>
        <p:xfrm>
          <a:off x="3429000" y="3303656"/>
          <a:ext cx="8287768" cy="2965704"/>
        </p:xfrm>
        <a:graphic>
          <a:graphicData uri="http://schemas.openxmlformats.org/drawingml/2006/table">
            <a:tbl>
              <a:tblPr firstRow="1" bandRow="1">
                <a:tableStyleId>{5C22544A-7EE6-4342-B048-85BDC9FD1C3A}</a:tableStyleId>
              </a:tblPr>
              <a:tblGrid>
                <a:gridCol w="1173892">
                  <a:extLst>
                    <a:ext uri="{9D8B030D-6E8A-4147-A177-3AD203B41FA5}">
                      <a16:colId xmlns:a16="http://schemas.microsoft.com/office/drawing/2014/main" val="751491253"/>
                    </a:ext>
                  </a:extLst>
                </a:gridCol>
                <a:gridCol w="1778469">
                  <a:extLst>
                    <a:ext uri="{9D8B030D-6E8A-4147-A177-3AD203B41FA5}">
                      <a16:colId xmlns:a16="http://schemas.microsoft.com/office/drawing/2014/main" val="1830936215"/>
                    </a:ext>
                  </a:extLst>
                </a:gridCol>
                <a:gridCol w="1778469">
                  <a:extLst>
                    <a:ext uri="{9D8B030D-6E8A-4147-A177-3AD203B41FA5}">
                      <a16:colId xmlns:a16="http://schemas.microsoft.com/office/drawing/2014/main" val="4147553802"/>
                    </a:ext>
                  </a:extLst>
                </a:gridCol>
                <a:gridCol w="1778469">
                  <a:extLst>
                    <a:ext uri="{9D8B030D-6E8A-4147-A177-3AD203B41FA5}">
                      <a16:colId xmlns:a16="http://schemas.microsoft.com/office/drawing/2014/main" val="4231288199"/>
                    </a:ext>
                  </a:extLst>
                </a:gridCol>
                <a:gridCol w="1778469">
                  <a:extLst>
                    <a:ext uri="{9D8B030D-6E8A-4147-A177-3AD203B41FA5}">
                      <a16:colId xmlns:a16="http://schemas.microsoft.com/office/drawing/2014/main" val="523586457"/>
                    </a:ext>
                  </a:extLst>
                </a:gridCol>
              </a:tblGrid>
              <a:tr h="731520">
                <a:tc>
                  <a:txBody>
                    <a:bodyPr/>
                    <a:lstStyle/>
                    <a:p>
                      <a:pPr algn="l">
                        <a:lnSpc>
                          <a:spcPct val="90000"/>
                        </a:lnSpc>
                        <a:spcBef>
                          <a:spcPts val="600"/>
                        </a:spcBef>
                        <a:spcAft>
                          <a:spcPts val="0"/>
                        </a:spcAft>
                      </a:pPr>
                      <a:endParaRPr lang="en-US" sz="1400" b="1">
                        <a:solidFill>
                          <a:schemeClr val="tx1"/>
                        </a:solidFill>
                        <a:latin typeface="+mj-lt"/>
                        <a:cs typeface="Arial" panose="020B0604020202020204" pitchFamily="34" charset="0"/>
                      </a:endParaRPr>
                    </a:p>
                  </a:txBody>
                  <a:tcPr marL="36576" marR="36576" marT="73152" marB="7315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lang="en-US" sz="1600" b="1" kern="1200" dirty="0">
                          <a:solidFill>
                            <a:schemeClr val="tx2"/>
                          </a:solidFill>
                          <a:latin typeface="+mj-lt"/>
                          <a:ea typeface="+mn-ea"/>
                          <a:cs typeface="Arial"/>
                        </a:rPr>
                        <a:t>Scenario A</a:t>
                      </a:r>
                    </a:p>
                    <a:p>
                      <a:pPr marL="0" marR="0" lvl="0" indent="0" algn="l" defTabSz="914400" rtl="0" eaLnBrk="1" fontAlgn="auto" latinLnBrk="0" hangingPunct="1">
                        <a:lnSpc>
                          <a:spcPct val="90000"/>
                        </a:lnSpc>
                        <a:spcBef>
                          <a:spcPts val="600"/>
                        </a:spcBef>
                        <a:spcAft>
                          <a:spcPts val="0"/>
                        </a:spcAft>
                        <a:buClrTx/>
                        <a:buSzTx/>
                        <a:buFontTx/>
                        <a:buNone/>
                        <a:tabLst/>
                        <a:defRPr/>
                      </a:pPr>
                      <a:r>
                        <a:rPr lang="en-US" sz="1200" b="1" kern="1200" dirty="0">
                          <a:solidFill>
                            <a:schemeClr val="tx1"/>
                          </a:solidFill>
                          <a:latin typeface="+mj-lt"/>
                          <a:ea typeface="+mn-ea"/>
                          <a:cs typeface="Arial"/>
                        </a:rPr>
                        <a:t>Baseline </a:t>
                      </a:r>
                      <a:br>
                        <a:rPr lang="en-US" sz="1200" b="1" kern="1200" dirty="0">
                          <a:solidFill>
                            <a:srgbClr val="1E1E1E"/>
                          </a:solidFill>
                          <a:latin typeface="+mj-lt"/>
                          <a:ea typeface="+mn-ea"/>
                          <a:cs typeface="Arial"/>
                        </a:rPr>
                      </a:br>
                      <a:r>
                        <a:rPr lang="en-US" sz="1200" b="1" kern="1200" dirty="0">
                          <a:solidFill>
                            <a:schemeClr val="tx1"/>
                          </a:solidFill>
                          <a:latin typeface="+mj-lt"/>
                          <a:ea typeface="+mn-ea"/>
                          <a:cs typeface="Arial"/>
                        </a:rPr>
                        <a:t>Status quo</a:t>
                      </a:r>
                    </a:p>
                  </a:txBody>
                  <a:tcPr marL="36576" marR="36576" marT="73152" marB="7315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lang="en-US" sz="1600" b="1" kern="1200" dirty="0">
                          <a:solidFill>
                            <a:schemeClr val="tx2"/>
                          </a:solidFill>
                          <a:latin typeface="+mj-lt"/>
                          <a:ea typeface="+mn-ea"/>
                          <a:cs typeface="Arial"/>
                        </a:rPr>
                        <a:t>Scenario B</a:t>
                      </a:r>
                    </a:p>
                    <a:p>
                      <a:pPr marL="0" marR="0" lvl="0" indent="0" algn="l" defTabSz="914400" rtl="0" eaLnBrk="1" fontAlgn="auto" latinLnBrk="0" hangingPunct="1">
                        <a:lnSpc>
                          <a:spcPct val="90000"/>
                        </a:lnSpc>
                        <a:spcBef>
                          <a:spcPts val="600"/>
                        </a:spcBef>
                        <a:spcAft>
                          <a:spcPts val="0"/>
                        </a:spcAft>
                        <a:buClrTx/>
                        <a:buSzTx/>
                        <a:buFontTx/>
                        <a:buNone/>
                        <a:tabLst/>
                        <a:defRPr/>
                      </a:pPr>
                      <a:r>
                        <a:rPr lang="en-US" sz="1200" b="1" kern="1200" dirty="0">
                          <a:solidFill>
                            <a:schemeClr val="tx1"/>
                          </a:solidFill>
                          <a:latin typeface="+mj-lt"/>
                          <a:ea typeface="+mn-ea"/>
                          <a:cs typeface="Arial"/>
                        </a:rPr>
                        <a:t>Partial outsourcing of smaller goods</a:t>
                      </a:r>
                    </a:p>
                  </a:txBody>
                  <a:tcPr marL="36576" marR="36576" marT="73152" marB="7315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lang="en-US" sz="1600" b="1" dirty="0">
                          <a:solidFill>
                            <a:schemeClr val="tx2"/>
                          </a:solidFill>
                          <a:latin typeface="+mj-lt"/>
                          <a:cs typeface="Arial"/>
                        </a:rPr>
                        <a:t>Scenario C</a:t>
                      </a:r>
                    </a:p>
                    <a:p>
                      <a:pPr marL="0" marR="0" lvl="0" indent="0" algn="l" defTabSz="914400" rtl="0" eaLnBrk="1" fontAlgn="auto" latinLnBrk="0" hangingPunct="1">
                        <a:lnSpc>
                          <a:spcPct val="90000"/>
                        </a:lnSpc>
                        <a:spcBef>
                          <a:spcPts val="600"/>
                        </a:spcBef>
                        <a:spcAft>
                          <a:spcPts val="0"/>
                        </a:spcAft>
                        <a:buClrTx/>
                        <a:buSzTx/>
                        <a:buFontTx/>
                        <a:buNone/>
                        <a:tabLst/>
                        <a:defRPr/>
                      </a:pPr>
                      <a:r>
                        <a:rPr lang="en-US" sz="1200" b="1" spc="0" dirty="0">
                          <a:solidFill>
                            <a:schemeClr val="tx1"/>
                          </a:solidFill>
                          <a:latin typeface="+mj-lt"/>
                          <a:cs typeface="Arial"/>
                        </a:rPr>
                        <a:t>Full closure of manufacturing</a:t>
                      </a:r>
                      <a:endParaRPr lang="en-US" sz="1200" b="1" kern="1200" spc="0" dirty="0">
                        <a:solidFill>
                          <a:schemeClr val="tx1"/>
                        </a:solidFill>
                        <a:latin typeface="+mj-lt"/>
                        <a:ea typeface="+mn-ea"/>
                        <a:cs typeface="Arial"/>
                      </a:endParaRPr>
                    </a:p>
                  </a:txBody>
                  <a:tcPr marL="36576" marR="36576" marT="73152" marB="73152">
                    <a:lnL w="28575"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lang="en-US" sz="1600" b="1" dirty="0">
                          <a:solidFill>
                            <a:schemeClr val="tx2"/>
                          </a:solidFill>
                          <a:latin typeface="+mj-lt"/>
                          <a:cs typeface="Arial"/>
                        </a:rPr>
                        <a:t>Scenario D</a:t>
                      </a:r>
                    </a:p>
                    <a:p>
                      <a:pPr marL="0" marR="0" lvl="0" indent="0" algn="l" defTabSz="914400" rtl="0" eaLnBrk="1" fontAlgn="auto" latinLnBrk="0" hangingPunct="1">
                        <a:lnSpc>
                          <a:spcPct val="90000"/>
                        </a:lnSpc>
                        <a:spcBef>
                          <a:spcPts val="600"/>
                        </a:spcBef>
                        <a:spcAft>
                          <a:spcPts val="0"/>
                        </a:spcAft>
                        <a:buClrTx/>
                        <a:buSzTx/>
                        <a:buFontTx/>
                        <a:buNone/>
                        <a:tabLst/>
                        <a:defRPr/>
                      </a:pPr>
                      <a:r>
                        <a:rPr lang="en-US" sz="1200" b="1" spc="0" dirty="0">
                          <a:solidFill>
                            <a:schemeClr val="tx1"/>
                          </a:solidFill>
                          <a:latin typeface="+mj-lt"/>
                          <a:cs typeface="Arial"/>
                        </a:rPr>
                        <a:t>Phased closure of manufacturing</a:t>
                      </a:r>
                      <a:endParaRPr lang="en-US" sz="1200" b="1" kern="1200" spc="0" dirty="0">
                        <a:solidFill>
                          <a:schemeClr val="tx1"/>
                        </a:solidFill>
                        <a:latin typeface="+mj-lt"/>
                        <a:ea typeface="+mn-ea"/>
                        <a:cs typeface="Arial"/>
                      </a:endParaRPr>
                    </a:p>
                  </a:txBody>
                  <a:tcPr marL="36576" marR="36576" marT="73152" marB="73152">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extLst>
                  <a:ext uri="{0D108BD9-81ED-4DB2-BD59-A6C34878D82A}">
                    <a16:rowId xmlns:a16="http://schemas.microsoft.com/office/drawing/2014/main" val="1614161639"/>
                  </a:ext>
                </a:extLst>
              </a:tr>
              <a:tr h="0">
                <a:tc>
                  <a:txBody>
                    <a:bodyPr/>
                    <a:lstStyle/>
                    <a:p>
                      <a:pPr algn="l">
                        <a:lnSpc>
                          <a:spcPct val="90000"/>
                        </a:lnSpc>
                        <a:spcBef>
                          <a:spcPts val="0"/>
                        </a:spcBef>
                        <a:spcAft>
                          <a:spcPts val="0"/>
                        </a:spcAft>
                      </a:pPr>
                      <a:r>
                        <a:rPr lang="en-US" sz="1400" b="1" dirty="0">
                          <a:solidFill>
                            <a:schemeClr val="tx1"/>
                          </a:solidFill>
                          <a:latin typeface="+mj-lt"/>
                          <a:cs typeface="Arial"/>
                        </a:rPr>
                        <a:t>Key Changes</a:t>
                      </a:r>
                    </a:p>
                  </a:txBody>
                  <a:tcPr marL="36576" marR="36576" marT="73152" marB="7315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0" marR="0" lvl="0" indent="0" algn="l" defTabSz="914400" rtl="0" eaLnBrk="1" fontAlgn="b"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mj-lt"/>
                          <a:ea typeface="+mn-ea"/>
                          <a:cs typeface="Arial"/>
                        </a:rPr>
                        <a:t>Maintaining existing manufacturing operations with stable but </a:t>
                      </a:r>
                      <a:r>
                        <a:rPr kumimoji="0" lang="en-US" sz="1200" b="1" i="0" u="none" strike="noStrike" kern="1200" cap="none" spc="0" normalizeH="0" baseline="0" noProof="0" dirty="0">
                          <a:ln>
                            <a:noFill/>
                          </a:ln>
                          <a:solidFill>
                            <a:srgbClr val="1E1E1E"/>
                          </a:solidFill>
                          <a:effectLst/>
                          <a:uLnTx/>
                          <a:uFillTx/>
                          <a:latin typeface="+mj-lt"/>
                          <a:ea typeface="+mn-ea"/>
                          <a:cs typeface="Arial"/>
                        </a:rPr>
                        <a:t>high - cost structures</a:t>
                      </a:r>
                      <a:r>
                        <a:rPr kumimoji="0" lang="en-US" sz="1200" b="0" i="0" u="none" strike="noStrike" kern="1200" cap="none" spc="0" normalizeH="0" baseline="0" noProof="0" dirty="0">
                          <a:ln>
                            <a:noFill/>
                          </a:ln>
                          <a:solidFill>
                            <a:srgbClr val="1E1E1E"/>
                          </a:solidFill>
                          <a:effectLst/>
                          <a:uLnTx/>
                          <a:uFillTx/>
                          <a:latin typeface="+mj-lt"/>
                          <a:ea typeface="+mn-ea"/>
                          <a:cs typeface="Arial"/>
                        </a:rPr>
                        <a:t>. </a:t>
                      </a:r>
                    </a:p>
                  </a:txBody>
                  <a:tcPr marL="36576" marR="36576" marT="73152" marB="7315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l" defTabSz="914400" rtl="0" eaLnBrk="1" fontAlgn="b" latinLnBrk="0" hangingPunct="1">
                        <a:lnSpc>
                          <a:spcPct val="90000"/>
                        </a:lnSpc>
                        <a:spcBef>
                          <a:spcPts val="0"/>
                        </a:spcBef>
                        <a:spcAft>
                          <a:spcPts val="0"/>
                        </a:spcAft>
                        <a:buClrTx/>
                        <a:buSzTx/>
                        <a:buFontTx/>
                        <a:buNone/>
                        <a:tabLst/>
                        <a:defRPr/>
                      </a:pPr>
                      <a:r>
                        <a:rPr lang="en-US" sz="1200" b="1" dirty="0">
                          <a:solidFill>
                            <a:srgbClr val="1E1E1E"/>
                          </a:solidFill>
                          <a:latin typeface="+mj-lt"/>
                          <a:cs typeface="Arial"/>
                        </a:rPr>
                        <a:t>Minor reduction in cost </a:t>
                      </a:r>
                      <a:r>
                        <a:rPr lang="en-US" sz="1200" dirty="0">
                          <a:solidFill>
                            <a:srgbClr val="1E1E1E"/>
                          </a:solidFill>
                          <a:latin typeface="+mj-lt"/>
                          <a:cs typeface="Arial"/>
                        </a:rPr>
                        <a:t>when smaller goods are outsourced while keeping larger goods and commercial systems in-house.</a:t>
                      </a:r>
                    </a:p>
                  </a:txBody>
                  <a:tcPr marL="36576" marR="36576" marT="73152" marB="7315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marL="0" marR="0" lvl="0" indent="0" algn="l" rtl="0" eaLnBrk="1" fontAlgn="b" latinLnBrk="0" hangingPunct="1">
                        <a:lnSpc>
                          <a:spcPct val="90000"/>
                        </a:lnSpc>
                        <a:spcBef>
                          <a:spcPts val="0"/>
                        </a:spcBef>
                        <a:spcAft>
                          <a:spcPts val="0"/>
                        </a:spcAft>
                        <a:buClrTx/>
                        <a:buSzTx/>
                        <a:buFontTx/>
                        <a:buNone/>
                      </a:pPr>
                      <a:r>
                        <a:rPr lang="en-US" sz="1200" dirty="0">
                          <a:solidFill>
                            <a:srgbClr val="1E1E1E"/>
                          </a:solidFill>
                          <a:latin typeface="+mj-lt"/>
                          <a:cs typeface="Arial"/>
                        </a:rPr>
                        <a:t>Complete halt in production, eliminate manufacturing operations and cut fixed cost, but with a </a:t>
                      </a:r>
                      <a:r>
                        <a:rPr lang="en-US" sz="1200" b="1" dirty="0">
                          <a:solidFill>
                            <a:srgbClr val="1E1E1E"/>
                          </a:solidFill>
                          <a:latin typeface="+mj-lt"/>
                          <a:cs typeface="Arial"/>
                        </a:rPr>
                        <a:t>temporary financial impact </a:t>
                      </a:r>
                      <a:r>
                        <a:rPr lang="en-US" sz="1200" dirty="0">
                          <a:solidFill>
                            <a:srgbClr val="1E1E1E"/>
                          </a:solidFill>
                          <a:latin typeface="+mj-lt"/>
                          <a:cs typeface="Arial"/>
                        </a:rPr>
                        <a:t>and loss of existing revenue. </a:t>
                      </a:r>
                    </a:p>
                  </a:txBody>
                  <a:tcPr marL="36576" marR="36576" marT="73152" marB="73152">
                    <a:lnL w="28575"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l" defTabSz="914400" rtl="0" eaLnBrk="1" fontAlgn="b" latinLnBrk="0" hangingPunct="1">
                        <a:lnSpc>
                          <a:spcPct val="90000"/>
                        </a:lnSpc>
                        <a:spcBef>
                          <a:spcPts val="0"/>
                        </a:spcBef>
                        <a:spcAft>
                          <a:spcPts val="0"/>
                        </a:spcAft>
                        <a:buClrTx/>
                        <a:buSzTx/>
                        <a:buFontTx/>
                        <a:buNone/>
                        <a:tabLst/>
                        <a:defRPr/>
                      </a:pPr>
                      <a:r>
                        <a:rPr lang="en-US" sz="1200" b="0" dirty="0">
                          <a:latin typeface="+mj-lt"/>
                        </a:rPr>
                        <a:t>Phased closure with </a:t>
                      </a:r>
                      <a:r>
                        <a:rPr lang="en-US" sz="1200" b="1" dirty="0">
                          <a:latin typeface="+mj-lt"/>
                        </a:rPr>
                        <a:t>SKU-level outsourcing </a:t>
                      </a:r>
                      <a:r>
                        <a:rPr lang="en-US" sz="1200" b="0" dirty="0">
                          <a:latin typeface="+mj-lt"/>
                        </a:rPr>
                        <a:t>unlocks cost recovery while avoiding abrupt disruption—ensuring </a:t>
                      </a:r>
                      <a:r>
                        <a:rPr lang="en-US" sz="1200" b="1" dirty="0">
                          <a:latin typeface="+mj-lt"/>
                        </a:rPr>
                        <a:t>long-term profitability</a:t>
                      </a:r>
                      <a:r>
                        <a:rPr lang="en-US" sz="1200" b="0" dirty="0">
                          <a:latin typeface="+mj-lt"/>
                        </a:rPr>
                        <a:t>. </a:t>
                      </a:r>
                      <a:endParaRPr lang="en-US" sz="1200" b="0" dirty="0">
                        <a:solidFill>
                          <a:srgbClr val="1E1E1E"/>
                        </a:solidFill>
                        <a:latin typeface="+mj-lt"/>
                        <a:cs typeface="Arial" panose="020B0604020202020204" pitchFamily="34" charset="0"/>
                      </a:endParaRPr>
                    </a:p>
                  </a:txBody>
                  <a:tcPr marL="36576" marR="36576" marT="73152" marB="73152">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D2D2"/>
                    </a:solidFill>
                  </a:tcPr>
                </a:tc>
                <a:extLst>
                  <a:ext uri="{0D108BD9-81ED-4DB2-BD59-A6C34878D82A}">
                    <a16:rowId xmlns:a16="http://schemas.microsoft.com/office/drawing/2014/main" val="97154393"/>
                  </a:ext>
                </a:extLst>
              </a:tr>
              <a:tr h="731520">
                <a:tc>
                  <a:txBody>
                    <a:bodyPr/>
                    <a:lstStyle/>
                    <a:p>
                      <a:pPr algn="l">
                        <a:lnSpc>
                          <a:spcPct val="90000"/>
                        </a:lnSpc>
                        <a:spcBef>
                          <a:spcPts val="600"/>
                        </a:spcBef>
                        <a:spcAft>
                          <a:spcPts val="0"/>
                        </a:spcAft>
                      </a:pPr>
                      <a:r>
                        <a:rPr lang="en-US" sz="1400" b="1" dirty="0">
                          <a:solidFill>
                            <a:schemeClr val="tx1"/>
                          </a:solidFill>
                          <a:latin typeface="+mj-lt"/>
                          <a:cs typeface="Arial"/>
                        </a:rPr>
                        <a:t>Total Annual Cost</a:t>
                      </a:r>
                    </a:p>
                  </a:txBody>
                  <a:tcPr marL="36576" marR="36576" marT="73152" marB="73152">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b">
                        <a:lnSpc>
                          <a:spcPct val="90000"/>
                        </a:lnSpc>
                        <a:spcBef>
                          <a:spcPts val="600"/>
                        </a:spcBef>
                        <a:spcAft>
                          <a:spcPts val="0"/>
                        </a:spcAft>
                      </a:pPr>
                      <a:r>
                        <a:rPr lang="en-US" sz="1400" b="1" i="0" u="none" strike="noStrike" dirty="0">
                          <a:solidFill>
                            <a:srgbClr val="000000"/>
                          </a:solidFill>
                          <a:effectLst/>
                          <a:latin typeface="+mj-lt"/>
                          <a:cs typeface="Arial"/>
                        </a:rPr>
                        <a:t> $13.5M</a:t>
                      </a:r>
                    </a:p>
                  </a:txBody>
                  <a:tcPr marL="36576" marR="36576" marT="73152" marB="7315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b">
                        <a:lnSpc>
                          <a:spcPct val="90000"/>
                        </a:lnSpc>
                        <a:spcBef>
                          <a:spcPts val="600"/>
                        </a:spcBef>
                        <a:spcAft>
                          <a:spcPts val="0"/>
                        </a:spcAft>
                      </a:pPr>
                      <a:r>
                        <a:rPr lang="en-US" sz="1400" b="1" i="0" u="none" strike="noStrike" dirty="0">
                          <a:solidFill>
                            <a:srgbClr val="000000"/>
                          </a:solidFill>
                          <a:effectLst/>
                          <a:latin typeface="+mj-lt"/>
                          <a:cs typeface="Arial"/>
                        </a:rPr>
                        <a:t>$12.6M</a:t>
                      </a:r>
                    </a:p>
                  </a:txBody>
                  <a:tcPr marL="36576" marR="36576" marT="73152" marB="7315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2D2D2"/>
                    </a:solidFill>
                  </a:tcPr>
                </a:tc>
                <a:tc>
                  <a:txBody>
                    <a:bodyPr/>
                    <a:lstStyle/>
                    <a:p>
                      <a:pPr algn="ctr" fontAlgn="b">
                        <a:lnSpc>
                          <a:spcPct val="90000"/>
                        </a:lnSpc>
                        <a:spcBef>
                          <a:spcPts val="600"/>
                        </a:spcBef>
                        <a:spcAft>
                          <a:spcPts val="0"/>
                        </a:spcAft>
                      </a:pPr>
                      <a:r>
                        <a:rPr lang="en-US" sz="1400" b="1" i="0" u="none" strike="noStrike" dirty="0">
                          <a:solidFill>
                            <a:srgbClr val="000000"/>
                          </a:solidFill>
                          <a:effectLst/>
                          <a:latin typeface="+mj-lt"/>
                          <a:cs typeface="Arial"/>
                        </a:rPr>
                        <a:t> $5.3M</a:t>
                      </a:r>
                    </a:p>
                  </a:txBody>
                  <a:tcPr marL="36576" marR="36576" marT="73152" marB="73152" anchor="ctr">
                    <a:lnL w="28575"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b">
                        <a:lnSpc>
                          <a:spcPct val="90000"/>
                        </a:lnSpc>
                        <a:spcBef>
                          <a:spcPts val="600"/>
                        </a:spcBef>
                        <a:spcAft>
                          <a:spcPts val="0"/>
                        </a:spcAft>
                      </a:pPr>
                      <a:r>
                        <a:rPr lang="en-US" sz="1800" b="1" i="0" u="none" strike="noStrike" dirty="0">
                          <a:solidFill>
                            <a:schemeClr val="tx2"/>
                          </a:solidFill>
                          <a:effectLst/>
                          <a:latin typeface="+mj-lt"/>
                          <a:cs typeface="Arial"/>
                        </a:rPr>
                        <a:t> $6.6M</a:t>
                      </a:r>
                    </a:p>
                  </a:txBody>
                  <a:tcPr marL="36576" marR="36576" marT="73152" marB="73152"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2D2D2"/>
                    </a:solidFill>
                  </a:tcPr>
                </a:tc>
                <a:extLst>
                  <a:ext uri="{0D108BD9-81ED-4DB2-BD59-A6C34878D82A}">
                    <a16:rowId xmlns:a16="http://schemas.microsoft.com/office/drawing/2014/main" val="2284429221"/>
                  </a:ext>
                </a:extLst>
              </a:tr>
            </a:tbl>
          </a:graphicData>
        </a:graphic>
      </p:graphicFrame>
      <p:sp>
        <p:nvSpPr>
          <p:cNvPr id="9" name="Rectangle 8">
            <a:extLst>
              <a:ext uri="{FF2B5EF4-FFF2-40B4-BE49-F238E27FC236}">
                <a16:creationId xmlns:a16="http://schemas.microsoft.com/office/drawing/2014/main" id="{E36D8FC9-6ADB-805B-0BF5-A5627E30ABD3}"/>
              </a:ext>
            </a:extLst>
          </p:cNvPr>
          <p:cNvSpPr/>
          <p:nvPr/>
        </p:nvSpPr>
        <p:spPr>
          <a:xfrm>
            <a:off x="3048000" y="0"/>
            <a:ext cx="9144000" cy="3048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grpSp>
        <p:nvGrpSpPr>
          <p:cNvPr id="10" name="Group 9">
            <a:extLst>
              <a:ext uri="{FF2B5EF4-FFF2-40B4-BE49-F238E27FC236}">
                <a16:creationId xmlns:a16="http://schemas.microsoft.com/office/drawing/2014/main" id="{EA882178-D088-2FA6-E282-6E34969AD278}"/>
              </a:ext>
            </a:extLst>
          </p:cNvPr>
          <p:cNvGrpSpPr/>
          <p:nvPr/>
        </p:nvGrpSpPr>
        <p:grpSpPr>
          <a:xfrm>
            <a:off x="3047999" y="196380"/>
            <a:ext cx="9144000" cy="476250"/>
            <a:chOff x="3048000" y="904875"/>
            <a:chExt cx="9067799" cy="476250"/>
          </a:xfrm>
          <a:solidFill>
            <a:schemeClr val="tx2"/>
          </a:solidFill>
        </p:grpSpPr>
        <p:sp>
          <p:nvSpPr>
            <p:cNvPr id="11" name="Freeform: Shape 10">
              <a:extLst>
                <a:ext uri="{FF2B5EF4-FFF2-40B4-BE49-F238E27FC236}">
                  <a16:creationId xmlns:a16="http://schemas.microsoft.com/office/drawing/2014/main" id="{08555685-96D0-5D72-9119-DB801E5D0660}"/>
                </a:ext>
              </a:extLst>
            </p:cNvPr>
            <p:cNvSpPr/>
            <p:nvPr/>
          </p:nvSpPr>
          <p:spPr>
            <a:xfrm>
              <a:off x="3048000" y="1119187"/>
              <a:ext cx="9000000" cy="47625"/>
            </a:xfrm>
            <a:custGeom>
              <a:avLst/>
              <a:gdLst>
                <a:gd name="connsiteX0" fmla="*/ 0 w 714375"/>
                <a:gd name="connsiteY0" fmla="*/ 0 h 47625"/>
                <a:gd name="connsiteX1" fmla="*/ 714375 w 714375"/>
                <a:gd name="connsiteY1" fmla="*/ 0 h 47625"/>
                <a:gd name="connsiteX2" fmla="*/ 714375 w 714375"/>
                <a:gd name="connsiteY2" fmla="*/ 47625 h 47625"/>
                <a:gd name="connsiteX3" fmla="*/ 0 w 714375"/>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14375" h="47625">
                  <a:moveTo>
                    <a:pt x="0" y="0"/>
                  </a:moveTo>
                  <a:lnTo>
                    <a:pt x="714375" y="0"/>
                  </a:lnTo>
                  <a:lnTo>
                    <a:pt x="714375" y="47625"/>
                  </a:lnTo>
                  <a:lnTo>
                    <a:pt x="0" y="47625"/>
                  </a:lnTo>
                  <a:close/>
                </a:path>
              </a:pathLst>
            </a:custGeom>
            <a:grpFill/>
            <a:ln w="23813"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10A2E3E6-8770-A902-9CDC-A713A1F16F16}"/>
                </a:ext>
              </a:extLst>
            </p:cNvPr>
            <p:cNvSpPr/>
            <p:nvPr/>
          </p:nvSpPr>
          <p:spPr>
            <a:xfrm>
              <a:off x="11810523" y="904875"/>
              <a:ext cx="305276" cy="476250"/>
            </a:xfrm>
            <a:custGeom>
              <a:avLst/>
              <a:gdLst>
                <a:gd name="connsiteX0" fmla="*/ 67151 w 305276"/>
                <a:gd name="connsiteY0" fmla="*/ 0 h 476250"/>
                <a:gd name="connsiteX1" fmla="*/ 0 w 305276"/>
                <a:gd name="connsiteY1" fmla="*/ 0 h 476250"/>
                <a:gd name="connsiteX2" fmla="*/ 237887 w 305276"/>
                <a:gd name="connsiteY2" fmla="*/ 238125 h 476250"/>
                <a:gd name="connsiteX3" fmla="*/ 0 w 305276"/>
                <a:gd name="connsiteY3" fmla="*/ 476250 h 476250"/>
                <a:gd name="connsiteX4" fmla="*/ 67151 w 305276"/>
                <a:gd name="connsiteY4" fmla="*/ 476250 h 476250"/>
                <a:gd name="connsiteX5" fmla="*/ 305276 w 305276"/>
                <a:gd name="connsiteY5" fmla="*/ 238125 h 476250"/>
                <a:gd name="connsiteX6" fmla="*/ 67151 w 305276"/>
                <a:gd name="connsiteY6" fmla="*/ 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276" h="476250">
                  <a:moveTo>
                    <a:pt x="67151" y="0"/>
                  </a:moveTo>
                  <a:lnTo>
                    <a:pt x="0" y="0"/>
                  </a:lnTo>
                  <a:lnTo>
                    <a:pt x="237887" y="238125"/>
                  </a:lnTo>
                  <a:lnTo>
                    <a:pt x="0" y="476250"/>
                  </a:lnTo>
                  <a:lnTo>
                    <a:pt x="67151" y="476250"/>
                  </a:lnTo>
                  <a:lnTo>
                    <a:pt x="305276" y="238125"/>
                  </a:lnTo>
                  <a:lnTo>
                    <a:pt x="67151" y="0"/>
                  </a:lnTo>
                  <a:close/>
                </a:path>
              </a:pathLst>
            </a:custGeom>
            <a:grpFill/>
            <a:ln w="23813"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C252EEB2-525F-A336-C7EA-54245AF5C905}"/>
              </a:ext>
            </a:extLst>
          </p:cNvPr>
          <p:cNvGrpSpPr/>
          <p:nvPr/>
        </p:nvGrpSpPr>
        <p:grpSpPr>
          <a:xfrm>
            <a:off x="3865641" y="381000"/>
            <a:ext cx="769441" cy="420155"/>
            <a:chOff x="3763315" y="3336676"/>
            <a:chExt cx="769441" cy="420155"/>
          </a:xfrm>
        </p:grpSpPr>
        <p:sp>
          <p:nvSpPr>
            <p:cNvPr id="13" name="Rectangle 12">
              <a:extLst>
                <a:ext uri="{FF2B5EF4-FFF2-40B4-BE49-F238E27FC236}">
                  <a16:creationId xmlns:a16="http://schemas.microsoft.com/office/drawing/2014/main" id="{6822FC2C-70E7-A017-9186-363349BC1004}"/>
                </a:ext>
              </a:extLst>
            </p:cNvPr>
            <p:cNvSpPr/>
            <p:nvPr/>
          </p:nvSpPr>
          <p:spPr bwMode="auto">
            <a:xfrm>
              <a:off x="3763315" y="3590632"/>
              <a:ext cx="769441" cy="166199"/>
            </a:xfrm>
            <a:prstGeom prst="rect">
              <a:avLst/>
            </a:prstGeom>
            <a:noFill/>
            <a:ln w="9525" cap="flat" cmpd="sng" algn="ctr">
              <a:noFill/>
              <a:prstDash val="solid"/>
              <a:round/>
              <a:headEnd type="none" w="med" len="med"/>
              <a:tailEnd type="none" w="med" len="med"/>
            </a:ln>
            <a:effectLst>
              <a:glow rad="63500">
                <a:schemeClr val="accent5">
                  <a:satMod val="175000"/>
                  <a:alpha val="40000"/>
                </a:schemeClr>
              </a:glow>
            </a:effectLst>
          </p:spPr>
          <p:txBody>
            <a:bodyPr wrap="none" lIns="0" tIns="0" rIns="0" bIns="0" anchorCtr="0">
              <a:spAutoFit/>
            </a:bodyPr>
            <a:lstStyle/>
            <a:p>
              <a:pPr marL="0" marR="0" lvl="0" indent="0" algn="ctr" defTabSz="914400" rtl="0" eaLnBrk="0" fontAlgn="auto" latinLnBrk="0" hangingPunct="0">
                <a:lnSpc>
                  <a:spcPct val="90000"/>
                </a:lnSpc>
                <a:spcBef>
                  <a:spcPts val="0"/>
                </a:spcBef>
                <a:spcAft>
                  <a:spcPts val="0"/>
                </a:spcAft>
                <a:buClr>
                  <a:srgbClr val="FFFFFF"/>
                </a:buClr>
                <a:buSzTx/>
                <a:buFontTx/>
                <a:buNone/>
                <a:tabLst/>
                <a:defRPr/>
              </a:pPr>
              <a:r>
                <a:rPr kumimoji="0" lang="en-US" sz="1200" b="0" i="0" u="none" strike="noStrike" kern="1200" cap="none" spc="0" normalizeH="0" baseline="0" noProof="0">
                  <a:ln>
                    <a:noFill/>
                  </a:ln>
                  <a:effectLst/>
                  <a:uLnTx/>
                  <a:uFillTx/>
                  <a:latin typeface="Arial" panose="020B0604020202020204"/>
                  <a:ea typeface="+mn-ea"/>
                  <a:cs typeface="+mn-cs"/>
                </a:rPr>
                <a:t>Status Quo</a:t>
              </a:r>
            </a:p>
          </p:txBody>
        </p:sp>
        <p:sp>
          <p:nvSpPr>
            <p:cNvPr id="14" name="Oval 13">
              <a:extLst>
                <a:ext uri="{FF2B5EF4-FFF2-40B4-BE49-F238E27FC236}">
                  <a16:creationId xmlns:a16="http://schemas.microsoft.com/office/drawing/2014/main" id="{5BAEE219-724D-F5A0-0E7E-6306EB86E0A4}"/>
                </a:ext>
              </a:extLst>
            </p:cNvPr>
            <p:cNvSpPr>
              <a:spLocks noChangeAspect="1"/>
            </p:cNvSpPr>
            <p:nvPr/>
          </p:nvSpPr>
          <p:spPr>
            <a:xfrm>
              <a:off x="4053968" y="3336676"/>
              <a:ext cx="182880" cy="182880"/>
            </a:xfrm>
            <a:prstGeom prst="ellipse">
              <a:avLst/>
            </a:prstGeom>
            <a:solidFill>
              <a:schemeClr val="tx2"/>
            </a:solidFill>
            <a:ln w="19050" cap="flat" cmpd="sng" algn="ctr">
              <a:solidFill>
                <a:schemeClr val="bg1"/>
              </a:solidFill>
              <a:prstDash val="solid"/>
            </a:ln>
            <a:effectLst/>
          </p:spPr>
          <p:txBody>
            <a:bodyPr lIns="73152" tIns="36576" rIns="73152" bIns="36576" rtlCol="0" anchor="t" anchorCtr="0"/>
            <a:lstStyle/>
            <a:p>
              <a:pPr algn="ctr" defTabSz="457200" fontAlgn="base">
                <a:lnSpc>
                  <a:spcPct val="90000"/>
                </a:lnSpc>
                <a:spcAft>
                  <a:spcPct val="0"/>
                </a:spcAft>
                <a:defRPr/>
              </a:pPr>
              <a:endParaRPr lang="en-US" sz="1000" kern="0">
                <a:latin typeface="Arial" panose="020B0604020202020204" pitchFamily="34" charset="0"/>
                <a:cs typeface="Arial" panose="020B0604020202020204" pitchFamily="34" charset="0"/>
              </a:endParaRPr>
            </a:p>
          </p:txBody>
        </p:sp>
      </p:grpSp>
      <p:sp>
        <p:nvSpPr>
          <p:cNvPr id="17" name="Arrow: Pentagon 88">
            <a:extLst>
              <a:ext uri="{FF2B5EF4-FFF2-40B4-BE49-F238E27FC236}">
                <a16:creationId xmlns:a16="http://schemas.microsoft.com/office/drawing/2014/main" id="{AE4D2F68-23AE-6A43-7127-8BAA6B3CD5A2}"/>
              </a:ext>
            </a:extLst>
          </p:cNvPr>
          <p:cNvSpPr/>
          <p:nvPr/>
        </p:nvSpPr>
        <p:spPr>
          <a:xfrm>
            <a:off x="8242048" y="1103410"/>
            <a:ext cx="3474720" cy="1563524"/>
          </a:xfrm>
          <a:prstGeom prst="rect">
            <a:avLst/>
          </a:prstGeom>
          <a:solidFill>
            <a:schemeClr val="bg1"/>
          </a:solidFill>
          <a:ln w="38100" cap="flat" cmpd="sng" algn="ctr">
            <a:noFill/>
            <a:prstDash val="solid"/>
            <a:miter lim="800000"/>
          </a:ln>
          <a:effectLst/>
        </p:spPr>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defTabSz="609585">
              <a:lnSpc>
                <a:spcPct val="90000"/>
              </a:lnSpc>
              <a:spcBef>
                <a:spcPts val="300"/>
              </a:spcBef>
              <a:defRPr/>
            </a:pPr>
            <a:r>
              <a:rPr lang="en-US" sz="1200" b="1"/>
              <a:t>Execution of fully outsourced model to stabilize and improve profitability.</a:t>
            </a:r>
          </a:p>
          <a:p>
            <a:pPr marL="152400" indent="-152400" defTabSz="609585">
              <a:lnSpc>
                <a:spcPct val="90000"/>
              </a:lnSpc>
              <a:spcBef>
                <a:spcPts val="300"/>
              </a:spcBef>
              <a:buClr>
                <a:srgbClr val="1E1E1E"/>
              </a:buClr>
              <a:buSzPct val="100000"/>
              <a:buFont typeface="Arial" panose="020B0604020202020204" pitchFamily="34" charset="0"/>
              <a:buChar char="–"/>
              <a:defRPr/>
            </a:pPr>
            <a:r>
              <a:rPr lang="en-US" sz="1200"/>
              <a:t>Outsource all strategically viable SKUs</a:t>
            </a:r>
            <a:r>
              <a:rPr lang="en-US" sz="1200" kern="0">
                <a:cs typeface="Arial" pitchFamily="34" charset="0"/>
              </a:rPr>
              <a:t> through portfolio rationalization</a:t>
            </a:r>
          </a:p>
          <a:p>
            <a:pPr marL="152400" indent="-152400" defTabSz="609585">
              <a:lnSpc>
                <a:spcPct val="90000"/>
              </a:lnSpc>
              <a:spcBef>
                <a:spcPts val="300"/>
              </a:spcBef>
              <a:buClr>
                <a:srgbClr val="1E1E1E"/>
              </a:buClr>
              <a:buSzPct val="100000"/>
              <a:buFont typeface="Arial" panose="020B0604020202020204" pitchFamily="34" charset="0"/>
              <a:buChar char="–"/>
              <a:defRPr/>
            </a:pPr>
            <a:r>
              <a:rPr lang="en-US" sz="1200" kern="0">
                <a:cs typeface="Arial" pitchFamily="34" charset="0"/>
              </a:rPr>
              <a:t>Automation and process improvements</a:t>
            </a:r>
          </a:p>
          <a:p>
            <a:pPr marL="152400" indent="-152400" defTabSz="609585">
              <a:lnSpc>
                <a:spcPct val="90000"/>
              </a:lnSpc>
              <a:spcBef>
                <a:spcPts val="300"/>
              </a:spcBef>
              <a:buClr>
                <a:srgbClr val="1E1E1E"/>
              </a:buClr>
              <a:buSzPct val="100000"/>
              <a:buFont typeface="Arial" panose="020B0604020202020204" pitchFamily="34" charset="0"/>
              <a:buChar char="–"/>
              <a:defRPr/>
            </a:pPr>
            <a:r>
              <a:rPr lang="en-US" sz="1200" kern="0">
                <a:cs typeface="Arial" pitchFamily="34" charset="0"/>
              </a:rPr>
              <a:t>Mitigation of financial risks associated with factory closure</a:t>
            </a:r>
          </a:p>
        </p:txBody>
      </p:sp>
      <p:sp>
        <p:nvSpPr>
          <p:cNvPr id="18" name="Arrow: Pentagon 88">
            <a:extLst>
              <a:ext uri="{FF2B5EF4-FFF2-40B4-BE49-F238E27FC236}">
                <a16:creationId xmlns:a16="http://schemas.microsoft.com/office/drawing/2014/main" id="{E2720C9C-0F73-D292-BDAE-F98BA217E3CB}"/>
              </a:ext>
            </a:extLst>
          </p:cNvPr>
          <p:cNvSpPr/>
          <p:nvPr/>
        </p:nvSpPr>
        <p:spPr>
          <a:xfrm>
            <a:off x="4683380" y="1103409"/>
            <a:ext cx="3474720" cy="1563525"/>
          </a:xfrm>
          <a:prstGeom prst="rect">
            <a:avLst/>
          </a:prstGeom>
          <a:solidFill>
            <a:schemeClr val="bg1"/>
          </a:solidFill>
          <a:ln w="38100" cap="flat" cmpd="sng" algn="ctr">
            <a:noFill/>
            <a:prstDash val="solid"/>
            <a:miter lim="800000"/>
          </a:ln>
          <a:effectLst/>
        </p:spPr>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marL="0" lvl="1" defTabSz="609585">
              <a:lnSpc>
                <a:spcPct val="90000"/>
              </a:lnSpc>
              <a:spcBef>
                <a:spcPts val="300"/>
              </a:spcBef>
              <a:buClr>
                <a:schemeClr val="tx1"/>
              </a:buClr>
              <a:buSzPct val="100000"/>
              <a:defRPr/>
            </a:pPr>
            <a:r>
              <a:rPr lang="en-US" sz="1200" b="1"/>
              <a:t>Minimal financial disruption through smooth transition between in house and outsourcing</a:t>
            </a:r>
          </a:p>
          <a:p>
            <a:pPr marL="152400" indent="-152400" defTabSz="609585">
              <a:lnSpc>
                <a:spcPct val="90000"/>
              </a:lnSpc>
              <a:spcBef>
                <a:spcPts val="300"/>
              </a:spcBef>
              <a:buClr>
                <a:srgbClr val="1E1E1E"/>
              </a:buClr>
              <a:buSzPct val="100000"/>
              <a:buFont typeface="Arial" panose="020B0604020202020204" pitchFamily="34" charset="0"/>
              <a:buChar char="–"/>
              <a:defRPr/>
            </a:pPr>
            <a:r>
              <a:rPr lang="en-US" sz="1200"/>
              <a:t>Outsourcing ≤ smaller goods</a:t>
            </a:r>
            <a:endParaRPr lang="en-US" sz="1200" kern="0">
              <a:cs typeface="Arial" pitchFamily="34" charset="0"/>
            </a:endParaRPr>
          </a:p>
          <a:p>
            <a:pPr marL="152400" indent="-152400" defTabSz="609585">
              <a:lnSpc>
                <a:spcPct val="90000"/>
              </a:lnSpc>
              <a:spcBef>
                <a:spcPts val="300"/>
              </a:spcBef>
              <a:buClr>
                <a:srgbClr val="1E1E1E"/>
              </a:buClr>
              <a:buSzPct val="100000"/>
              <a:buFont typeface="Arial" panose="020B0604020202020204" pitchFamily="34" charset="0"/>
              <a:buChar char="–"/>
              <a:defRPr/>
            </a:pPr>
            <a:r>
              <a:rPr lang="en-US" sz="1200"/>
              <a:t>Cost assessment for remaining production </a:t>
            </a:r>
          </a:p>
          <a:p>
            <a:pPr marL="152400" indent="-152400" defTabSz="609585">
              <a:lnSpc>
                <a:spcPct val="90000"/>
              </a:lnSpc>
              <a:spcBef>
                <a:spcPts val="300"/>
              </a:spcBef>
              <a:buClr>
                <a:srgbClr val="1E1E1E"/>
              </a:buClr>
              <a:buSzPct val="100000"/>
              <a:buFont typeface="Arial" panose="020B0604020202020204" pitchFamily="34" charset="0"/>
              <a:buChar char="–"/>
              <a:defRPr/>
            </a:pPr>
            <a:r>
              <a:rPr lang="en-US" sz="1200"/>
              <a:t>Gradual workforce and operational adjustments </a:t>
            </a:r>
          </a:p>
        </p:txBody>
      </p:sp>
      <p:sp>
        <p:nvSpPr>
          <p:cNvPr id="19" name="Arrow: Pentagon 88">
            <a:extLst>
              <a:ext uri="{FF2B5EF4-FFF2-40B4-BE49-F238E27FC236}">
                <a16:creationId xmlns:a16="http://schemas.microsoft.com/office/drawing/2014/main" id="{43DDCAA1-1EA3-EB2C-FCBB-D2270155E358}"/>
              </a:ext>
            </a:extLst>
          </p:cNvPr>
          <p:cNvSpPr/>
          <p:nvPr/>
        </p:nvSpPr>
        <p:spPr>
          <a:xfrm>
            <a:off x="3428999" y="1103409"/>
            <a:ext cx="1170432" cy="1563525"/>
          </a:xfrm>
          <a:prstGeom prst="rect">
            <a:avLst/>
          </a:prstGeom>
          <a:solidFill>
            <a:schemeClr val="bg1"/>
          </a:solidFill>
          <a:ln w="38100" cap="flat" cmpd="sng" algn="ctr">
            <a:noFill/>
            <a:prstDash val="solid"/>
            <a:miter lim="800000"/>
          </a:ln>
          <a:effectLst/>
        </p:spPr>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marL="0" lvl="1" defTabSz="609585">
              <a:lnSpc>
                <a:spcPct val="90000"/>
              </a:lnSpc>
              <a:spcBef>
                <a:spcPts val="100"/>
              </a:spcBef>
              <a:buClr>
                <a:schemeClr val="tx1"/>
              </a:buClr>
              <a:buSzPct val="100000"/>
              <a:defRPr/>
            </a:pPr>
            <a:r>
              <a:rPr lang="en-US" sz="1200" b="1"/>
              <a:t>Status Quo</a:t>
            </a:r>
            <a:endParaRPr lang="en-US" sz="1200"/>
          </a:p>
        </p:txBody>
      </p:sp>
      <p:grpSp>
        <p:nvGrpSpPr>
          <p:cNvPr id="22" name="Group 21">
            <a:extLst>
              <a:ext uri="{FF2B5EF4-FFF2-40B4-BE49-F238E27FC236}">
                <a16:creationId xmlns:a16="http://schemas.microsoft.com/office/drawing/2014/main" id="{6BD9EE90-61D1-394C-6DBA-0084F8BCCDEC}"/>
              </a:ext>
            </a:extLst>
          </p:cNvPr>
          <p:cNvGrpSpPr/>
          <p:nvPr/>
        </p:nvGrpSpPr>
        <p:grpSpPr>
          <a:xfrm>
            <a:off x="5639150" y="381000"/>
            <a:ext cx="1599605" cy="586355"/>
            <a:chOff x="3348234" y="3336676"/>
            <a:chExt cx="1599605" cy="586355"/>
          </a:xfrm>
        </p:grpSpPr>
        <p:sp>
          <p:nvSpPr>
            <p:cNvPr id="23" name="Rectangle 22">
              <a:extLst>
                <a:ext uri="{FF2B5EF4-FFF2-40B4-BE49-F238E27FC236}">
                  <a16:creationId xmlns:a16="http://schemas.microsoft.com/office/drawing/2014/main" id="{89A169AA-E770-33AE-ADEB-2C37566FC22A}"/>
                </a:ext>
              </a:extLst>
            </p:cNvPr>
            <p:cNvSpPr/>
            <p:nvPr/>
          </p:nvSpPr>
          <p:spPr bwMode="auto">
            <a:xfrm>
              <a:off x="3348234" y="3590632"/>
              <a:ext cx="1599605" cy="332399"/>
            </a:xfrm>
            <a:prstGeom prst="rect">
              <a:avLst/>
            </a:prstGeom>
            <a:noFill/>
            <a:ln w="9525" cap="flat" cmpd="sng" algn="ctr">
              <a:noFill/>
              <a:prstDash val="solid"/>
              <a:round/>
              <a:headEnd type="none" w="med" len="med"/>
              <a:tailEnd type="none" w="med" len="med"/>
            </a:ln>
            <a:effectLst>
              <a:glow rad="63500">
                <a:schemeClr val="accent5">
                  <a:satMod val="175000"/>
                  <a:alpha val="40000"/>
                </a:schemeClr>
              </a:glow>
            </a:effectLst>
          </p:spPr>
          <p:txBody>
            <a:bodyPr wrap="none" lIns="0" tIns="0" rIns="0" bIns="0" anchorCtr="0">
              <a:spAutoFit/>
            </a:bodyPr>
            <a:lstStyle/>
            <a:p>
              <a:pPr marL="0" marR="0" lvl="0" indent="0" algn="ctr" defTabSz="914400" rtl="0" eaLnBrk="0" fontAlgn="auto" latinLnBrk="0" hangingPunct="0">
                <a:lnSpc>
                  <a:spcPct val="90000"/>
                </a:lnSpc>
                <a:spcBef>
                  <a:spcPts val="0"/>
                </a:spcBef>
                <a:spcAft>
                  <a:spcPts val="0"/>
                </a:spcAft>
                <a:buClr>
                  <a:srgbClr val="FFFFFF"/>
                </a:buClr>
                <a:buSzTx/>
                <a:buFontTx/>
                <a:buNone/>
                <a:tabLst/>
                <a:defRPr/>
              </a:pPr>
              <a:r>
                <a:rPr kumimoji="0" lang="en-US" sz="1200" b="1" i="0" u="none" strike="noStrike" kern="1200" cap="none" spc="0" normalizeH="0" baseline="0" noProof="0">
                  <a:ln>
                    <a:noFill/>
                  </a:ln>
                  <a:effectLst/>
                  <a:uLnTx/>
                  <a:uFillTx/>
                  <a:latin typeface="Arial" panose="020B0604020202020204"/>
                  <a:ea typeface="+mn-ea"/>
                  <a:cs typeface="+mn-cs"/>
                </a:rPr>
                <a:t>1. Mid-Term Evolution</a:t>
              </a:r>
              <a:br>
                <a:rPr kumimoji="0" lang="en-US" sz="1200" b="1" i="0" u="none" strike="noStrike" kern="1200" cap="none" spc="0" normalizeH="0" baseline="0" noProof="0">
                  <a:ln>
                    <a:noFill/>
                  </a:ln>
                  <a:effectLst/>
                  <a:uLnTx/>
                  <a:uFillTx/>
                  <a:latin typeface="Arial" panose="020B0604020202020204"/>
                  <a:ea typeface="+mn-ea"/>
                  <a:cs typeface="+mn-cs"/>
                </a:rPr>
              </a:br>
              <a:r>
                <a:rPr kumimoji="0" lang="en-US" sz="1200" b="0" i="0" u="none" strike="noStrike" kern="1200" cap="none" spc="0" normalizeH="0" baseline="0" noProof="0">
                  <a:ln>
                    <a:noFill/>
                  </a:ln>
                  <a:effectLst/>
                  <a:uLnTx/>
                  <a:uFillTx/>
                  <a:latin typeface="Arial" panose="020B0604020202020204"/>
                  <a:ea typeface="+mn-ea"/>
                  <a:cs typeface="+mn-cs"/>
                </a:rPr>
                <a:t>12 Months</a:t>
              </a:r>
            </a:p>
          </p:txBody>
        </p:sp>
        <p:sp>
          <p:nvSpPr>
            <p:cNvPr id="24" name="Oval 23">
              <a:extLst>
                <a:ext uri="{FF2B5EF4-FFF2-40B4-BE49-F238E27FC236}">
                  <a16:creationId xmlns:a16="http://schemas.microsoft.com/office/drawing/2014/main" id="{05DE1355-353A-3871-02AF-9174C0A98356}"/>
                </a:ext>
              </a:extLst>
            </p:cNvPr>
            <p:cNvSpPr>
              <a:spLocks noChangeAspect="1"/>
            </p:cNvSpPr>
            <p:nvPr/>
          </p:nvSpPr>
          <p:spPr>
            <a:xfrm>
              <a:off x="4053968" y="3336676"/>
              <a:ext cx="182880" cy="182880"/>
            </a:xfrm>
            <a:prstGeom prst="ellipse">
              <a:avLst/>
            </a:prstGeom>
            <a:solidFill>
              <a:schemeClr val="tx2"/>
            </a:solidFill>
            <a:ln w="19050" cap="flat" cmpd="sng" algn="ctr">
              <a:solidFill>
                <a:schemeClr val="bg1"/>
              </a:solidFill>
              <a:prstDash val="solid"/>
            </a:ln>
            <a:effectLst/>
          </p:spPr>
          <p:txBody>
            <a:bodyPr lIns="73152" tIns="36576" rIns="73152" bIns="36576" rtlCol="0" anchor="t" anchorCtr="0"/>
            <a:lstStyle/>
            <a:p>
              <a:pPr algn="ctr" defTabSz="457200" fontAlgn="base">
                <a:lnSpc>
                  <a:spcPct val="90000"/>
                </a:lnSpc>
                <a:spcAft>
                  <a:spcPct val="0"/>
                </a:spcAft>
                <a:defRPr/>
              </a:pPr>
              <a:endParaRPr lang="en-US" sz="1000" kern="0">
                <a:latin typeface="Arial" panose="020B0604020202020204" pitchFamily="34" charset="0"/>
                <a:cs typeface="Arial" panose="020B0604020202020204" pitchFamily="34" charset="0"/>
              </a:endParaRPr>
            </a:p>
          </p:txBody>
        </p:sp>
      </p:grpSp>
      <p:cxnSp>
        <p:nvCxnSpPr>
          <p:cNvPr id="25" name="Straight Connector 24">
            <a:extLst>
              <a:ext uri="{FF2B5EF4-FFF2-40B4-BE49-F238E27FC236}">
                <a16:creationId xmlns:a16="http://schemas.microsoft.com/office/drawing/2014/main" id="{D370CD63-B92E-6909-EF4D-C60897DBF977}"/>
              </a:ext>
            </a:extLst>
          </p:cNvPr>
          <p:cNvCxnSpPr>
            <a:cxnSpLocks/>
          </p:cNvCxnSpPr>
          <p:nvPr/>
        </p:nvCxnSpPr>
        <p:spPr>
          <a:xfrm>
            <a:off x="4701592" y="1027935"/>
            <a:ext cx="3474720" cy="0"/>
          </a:xfrm>
          <a:prstGeom prst="line">
            <a:avLst/>
          </a:prstGeom>
          <a:ln w="25400">
            <a:solidFill>
              <a:schemeClr val="tx2"/>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909F55B-0F13-B878-AAAD-1A70FD801085}"/>
              </a:ext>
            </a:extLst>
          </p:cNvPr>
          <p:cNvCxnSpPr>
            <a:cxnSpLocks/>
          </p:cNvCxnSpPr>
          <p:nvPr/>
        </p:nvCxnSpPr>
        <p:spPr>
          <a:xfrm>
            <a:off x="8242048" y="1027935"/>
            <a:ext cx="3474720" cy="0"/>
          </a:xfrm>
          <a:prstGeom prst="line">
            <a:avLst/>
          </a:prstGeom>
          <a:ln w="25400">
            <a:solidFill>
              <a:schemeClr val="tx2"/>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2" name="Freeform: Shape 31">
            <a:extLst>
              <a:ext uri="{FF2B5EF4-FFF2-40B4-BE49-F238E27FC236}">
                <a16:creationId xmlns:a16="http://schemas.microsoft.com/office/drawing/2014/main" id="{C71E0215-9E13-2A29-3E17-90A0C2725E95}"/>
              </a:ext>
            </a:extLst>
          </p:cNvPr>
          <p:cNvSpPr/>
          <p:nvPr/>
        </p:nvSpPr>
        <p:spPr>
          <a:xfrm>
            <a:off x="3428999" y="2666934"/>
            <a:ext cx="8287771" cy="626946"/>
          </a:xfrm>
          <a:custGeom>
            <a:avLst/>
            <a:gdLst/>
            <a:ahLst/>
            <a:cxnLst/>
            <a:rect l="0" t="0" r="0" b="0"/>
            <a:pathLst>
              <a:path w="8287771" h="626946">
                <a:moveTo>
                  <a:pt x="0" y="0"/>
                </a:moveTo>
                <a:lnTo>
                  <a:pt x="6501639" y="626945"/>
                </a:lnTo>
                <a:lnTo>
                  <a:pt x="8287769" y="622366"/>
                </a:lnTo>
                <a:lnTo>
                  <a:pt x="8287770" y="0"/>
                </a:lnTo>
                <a:close/>
              </a:path>
            </a:pathLst>
          </a:custGeom>
          <a:gradFill>
            <a:gsLst>
              <a:gs pos="0">
                <a:schemeClr val="accent4"/>
              </a:gs>
              <a:gs pos="100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grpSp>
        <p:nvGrpSpPr>
          <p:cNvPr id="27" name="Group 26">
            <a:extLst>
              <a:ext uri="{FF2B5EF4-FFF2-40B4-BE49-F238E27FC236}">
                <a16:creationId xmlns:a16="http://schemas.microsoft.com/office/drawing/2014/main" id="{937DB7C5-5B79-2485-3035-201C730A8F17}"/>
              </a:ext>
            </a:extLst>
          </p:cNvPr>
          <p:cNvGrpSpPr/>
          <p:nvPr/>
        </p:nvGrpSpPr>
        <p:grpSpPr>
          <a:xfrm>
            <a:off x="8751604" y="381000"/>
            <a:ext cx="2455609" cy="586355"/>
            <a:chOff x="2920232" y="3336676"/>
            <a:chExt cx="2455609" cy="586355"/>
          </a:xfrm>
        </p:grpSpPr>
        <p:sp>
          <p:nvSpPr>
            <p:cNvPr id="28" name="Rectangle 27">
              <a:extLst>
                <a:ext uri="{FF2B5EF4-FFF2-40B4-BE49-F238E27FC236}">
                  <a16:creationId xmlns:a16="http://schemas.microsoft.com/office/drawing/2014/main" id="{1C5BCD6D-39F7-2E77-448C-716CDB36BF52}"/>
                </a:ext>
              </a:extLst>
            </p:cNvPr>
            <p:cNvSpPr/>
            <p:nvPr/>
          </p:nvSpPr>
          <p:spPr bwMode="auto">
            <a:xfrm>
              <a:off x="2920232" y="3590632"/>
              <a:ext cx="2455609" cy="332399"/>
            </a:xfrm>
            <a:prstGeom prst="rect">
              <a:avLst/>
            </a:prstGeom>
            <a:noFill/>
            <a:ln w="9525" cap="flat" cmpd="sng" algn="ctr">
              <a:noFill/>
              <a:prstDash val="solid"/>
              <a:round/>
              <a:headEnd type="none" w="med" len="med"/>
              <a:tailEnd type="none" w="med" len="med"/>
            </a:ln>
            <a:effectLst>
              <a:glow rad="63500">
                <a:schemeClr val="accent5">
                  <a:satMod val="175000"/>
                  <a:alpha val="40000"/>
                </a:schemeClr>
              </a:glow>
            </a:effectLst>
          </p:spPr>
          <p:txBody>
            <a:bodyPr wrap="none" lIns="0" tIns="0" rIns="0" bIns="0" anchorCtr="0">
              <a:spAutoFit/>
            </a:bodyPr>
            <a:lstStyle/>
            <a:p>
              <a:pPr marL="0" marR="0" lvl="0" indent="0" algn="ctr" defTabSz="914400" rtl="0" eaLnBrk="0" fontAlgn="auto" latinLnBrk="0" hangingPunct="0">
                <a:lnSpc>
                  <a:spcPct val="90000"/>
                </a:lnSpc>
                <a:spcBef>
                  <a:spcPts val="0"/>
                </a:spcBef>
                <a:spcAft>
                  <a:spcPts val="0"/>
                </a:spcAft>
                <a:buClr>
                  <a:srgbClr val="FFFFFF"/>
                </a:buClr>
                <a:buSzTx/>
                <a:buFontTx/>
                <a:buNone/>
                <a:tabLst/>
                <a:defRPr/>
              </a:pPr>
              <a:r>
                <a:rPr kumimoji="0" lang="en-US" sz="1200" b="1" i="0" u="none" strike="noStrike" kern="1200" cap="none" spc="0" normalizeH="0" baseline="0" noProof="0">
                  <a:ln>
                    <a:noFill/>
                  </a:ln>
                  <a:effectLst/>
                  <a:uLnTx/>
                  <a:uFillTx/>
                  <a:latin typeface="Arial" panose="020B0604020202020204"/>
                  <a:ea typeface="+mn-ea"/>
                  <a:cs typeface="+mn-cs"/>
                </a:rPr>
                <a:t>2. Long-Term Strategic Evolution </a:t>
              </a:r>
            </a:p>
            <a:p>
              <a:pPr marL="0" marR="0" lvl="0" indent="0" algn="ctr" defTabSz="914400" rtl="0" eaLnBrk="0" fontAlgn="auto" latinLnBrk="0" hangingPunct="0">
                <a:lnSpc>
                  <a:spcPct val="90000"/>
                </a:lnSpc>
                <a:spcBef>
                  <a:spcPts val="0"/>
                </a:spcBef>
                <a:spcAft>
                  <a:spcPts val="0"/>
                </a:spcAft>
                <a:buClr>
                  <a:srgbClr val="FFFFFF"/>
                </a:buClr>
                <a:buSzTx/>
                <a:buFontTx/>
                <a:buNone/>
                <a:tabLst/>
                <a:defRPr/>
              </a:pPr>
              <a:r>
                <a:rPr kumimoji="0" lang="en-US" sz="1200" b="0" i="0" u="none" strike="noStrike" kern="1200" cap="none" spc="0" normalizeH="0" baseline="0" noProof="0">
                  <a:ln>
                    <a:noFill/>
                  </a:ln>
                  <a:effectLst/>
                  <a:uLnTx/>
                  <a:uFillTx/>
                  <a:latin typeface="Arial" panose="020B0604020202020204"/>
                  <a:ea typeface="+mn-ea"/>
                  <a:cs typeface="+mn-cs"/>
                </a:rPr>
                <a:t>18-24 Months</a:t>
              </a:r>
            </a:p>
          </p:txBody>
        </p:sp>
        <p:sp>
          <p:nvSpPr>
            <p:cNvPr id="29" name="Oval 28">
              <a:extLst>
                <a:ext uri="{FF2B5EF4-FFF2-40B4-BE49-F238E27FC236}">
                  <a16:creationId xmlns:a16="http://schemas.microsoft.com/office/drawing/2014/main" id="{7EA51D62-A797-680D-A45D-EC4BCA60F103}"/>
                </a:ext>
              </a:extLst>
            </p:cNvPr>
            <p:cNvSpPr>
              <a:spLocks noChangeAspect="1"/>
            </p:cNvSpPr>
            <p:nvPr/>
          </p:nvSpPr>
          <p:spPr>
            <a:xfrm>
              <a:off x="4053968" y="3336676"/>
              <a:ext cx="182880" cy="182880"/>
            </a:xfrm>
            <a:prstGeom prst="ellipse">
              <a:avLst/>
            </a:prstGeom>
            <a:solidFill>
              <a:schemeClr val="tx2"/>
            </a:solidFill>
            <a:ln w="19050" cap="flat" cmpd="sng" algn="ctr">
              <a:solidFill>
                <a:schemeClr val="bg1"/>
              </a:solidFill>
              <a:prstDash val="solid"/>
            </a:ln>
            <a:effectLst/>
          </p:spPr>
          <p:txBody>
            <a:bodyPr lIns="73152" tIns="36576" rIns="73152" bIns="36576" rtlCol="0" anchor="t" anchorCtr="0"/>
            <a:lstStyle/>
            <a:p>
              <a:pPr algn="ctr" defTabSz="457200" fontAlgn="base">
                <a:lnSpc>
                  <a:spcPct val="90000"/>
                </a:lnSpc>
                <a:spcAft>
                  <a:spcPct val="0"/>
                </a:spcAft>
                <a:defRPr/>
              </a:pPr>
              <a:endParaRPr lang="en-US" sz="1000" kern="0">
                <a:latin typeface="Arial" panose="020B0604020202020204" pitchFamily="34" charset="0"/>
                <a:cs typeface="Arial" panose="020B0604020202020204" pitchFamily="34" charset="0"/>
              </a:endParaRPr>
            </a:p>
          </p:txBody>
        </p:sp>
      </p:grpSp>
      <p:sp>
        <p:nvSpPr>
          <p:cNvPr id="16" name="Rectangle 15">
            <a:extLst>
              <a:ext uri="{FF2B5EF4-FFF2-40B4-BE49-F238E27FC236}">
                <a16:creationId xmlns:a16="http://schemas.microsoft.com/office/drawing/2014/main" id="{E276A429-6F3B-DDCE-A679-522952AC42BC}"/>
              </a:ext>
            </a:extLst>
          </p:cNvPr>
          <p:cNvSpPr/>
          <p:nvPr/>
        </p:nvSpPr>
        <p:spPr>
          <a:xfrm>
            <a:off x="9279712" y="2812249"/>
            <a:ext cx="2319545" cy="332399"/>
          </a:xfrm>
          <a:prstGeom prst="rect">
            <a:avLst/>
          </a:prstGeom>
          <a:noFill/>
          <a:ln w="2540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90000"/>
              </a:lnSpc>
              <a:spcBef>
                <a:spcPts val="900"/>
              </a:spcBef>
              <a:spcAft>
                <a:spcPts val="0"/>
              </a:spcAft>
              <a:buClrTx/>
              <a:buSzTx/>
              <a:buFontTx/>
              <a:buNone/>
              <a:tabLst/>
              <a:defRPr/>
            </a:pPr>
            <a:r>
              <a:rPr kumimoji="0" lang="en-US" sz="1200" b="1" u="none" strike="noStrike" kern="1200" cap="none" spc="0" normalizeH="0" baseline="0" noProof="0">
                <a:ln>
                  <a:noFill/>
                </a:ln>
                <a:solidFill>
                  <a:srgbClr val="1E1E1E"/>
                </a:solidFill>
                <a:effectLst/>
                <a:uLnTx/>
                <a:uFillTx/>
                <a:latin typeface="Arial" pitchFamily="34" charset="0"/>
                <a:ea typeface="+mn-ea"/>
                <a:cs typeface="Arial" pitchFamily="34" charset="0"/>
              </a:rPr>
              <a:t>Our recommendation based on </a:t>
            </a:r>
            <a:br>
              <a:rPr kumimoji="0" lang="en-US" sz="1200" b="1" u="none" strike="noStrike" kern="1200" cap="none" spc="0" normalizeH="0" baseline="0" noProof="0">
                <a:ln>
                  <a:noFill/>
                </a:ln>
                <a:solidFill>
                  <a:srgbClr val="1E1E1E"/>
                </a:solidFill>
                <a:effectLst/>
                <a:uLnTx/>
                <a:uFillTx/>
                <a:latin typeface="Arial" pitchFamily="34" charset="0"/>
                <a:ea typeface="+mn-ea"/>
                <a:cs typeface="Arial" pitchFamily="34" charset="0"/>
              </a:rPr>
            </a:br>
            <a:r>
              <a:rPr kumimoji="0" lang="en-US" sz="1200" b="1" u="none" strike="noStrike" kern="1200" cap="none" spc="0" normalizeH="0" baseline="0" noProof="0">
                <a:ln>
                  <a:noFill/>
                </a:ln>
                <a:solidFill>
                  <a:srgbClr val="1E1E1E"/>
                </a:solidFill>
                <a:effectLst/>
                <a:uLnTx/>
                <a:uFillTx/>
                <a:latin typeface="Arial" pitchFamily="34" charset="0"/>
                <a:ea typeface="+mn-ea"/>
                <a:cs typeface="Arial" pitchFamily="34" charset="0"/>
              </a:rPr>
              <a:t>cost &amp; business impact </a:t>
            </a:r>
          </a:p>
        </p:txBody>
      </p:sp>
      <p:pic>
        <p:nvPicPr>
          <p:cNvPr id="33" name="Graphic 32">
            <a:extLst>
              <a:ext uri="{FF2B5EF4-FFF2-40B4-BE49-F238E27FC236}">
                <a16:creationId xmlns:a16="http://schemas.microsoft.com/office/drawing/2014/main" id="{85CF45BA-462A-E2C9-2256-5A8B4933FE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48208" y="1981200"/>
            <a:ext cx="589086" cy="589086"/>
          </a:xfrm>
          <a:prstGeom prst="rect">
            <a:avLst/>
          </a:prstGeom>
        </p:spPr>
      </p:pic>
      <p:pic>
        <p:nvPicPr>
          <p:cNvPr id="34" name="Graphic 33">
            <a:extLst>
              <a:ext uri="{FF2B5EF4-FFF2-40B4-BE49-F238E27FC236}">
                <a16:creationId xmlns:a16="http://schemas.microsoft.com/office/drawing/2014/main" id="{DCDBB5F7-8302-3DA5-54EE-DD4CD1A992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41782" y="5070551"/>
            <a:ext cx="253746" cy="338328"/>
          </a:xfrm>
          <a:prstGeom prst="rect">
            <a:avLst/>
          </a:prstGeom>
        </p:spPr>
      </p:pic>
      <p:pic>
        <p:nvPicPr>
          <p:cNvPr id="35" name="Graphic 34">
            <a:extLst>
              <a:ext uri="{FF2B5EF4-FFF2-40B4-BE49-F238E27FC236}">
                <a16:creationId xmlns:a16="http://schemas.microsoft.com/office/drawing/2014/main" id="{20194DC2-58CB-94CB-9F03-C6D7C00BDE9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200016" y="5870425"/>
            <a:ext cx="337278" cy="337278"/>
          </a:xfrm>
          <a:prstGeom prst="rect">
            <a:avLst/>
          </a:prstGeom>
        </p:spPr>
      </p:pic>
    </p:spTree>
    <p:extLst>
      <p:ext uri="{BB962C8B-B14F-4D97-AF65-F5344CB8AC3E}">
        <p14:creationId xmlns:p14="http://schemas.microsoft.com/office/powerpoint/2010/main" val="2544543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CDC07B-DC7A-A0A7-D537-070082423371}"/>
              </a:ext>
            </a:extLst>
          </p:cNvPr>
          <p:cNvGraphicFramePr>
            <a:graphicFrameLocks noChangeAspect="1"/>
          </p:cNvGraphicFramePr>
          <p:nvPr>
            <p:custDataLst>
              <p:tags r:id="rId1"/>
            </p:custDataLst>
            <p:extLst>
              <p:ext uri="{D42A27DB-BD31-4B8C-83A1-F6EECF244321}">
                <p14:modId xmlns:p14="http://schemas.microsoft.com/office/powerpoint/2010/main" val="163685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73" imgH="476" progId="TCLayout.ActiveDocument.1">
                  <p:embed/>
                </p:oleObj>
              </mc:Choice>
              <mc:Fallback>
                <p:oleObj name="think-cell Slide" r:id="rId38" imgW="473" imgH="476" progId="TCLayout.ActiveDocument.1">
                  <p:embed/>
                  <p:pic>
                    <p:nvPicPr>
                      <p:cNvPr id="4" name="think-cell data - do not delete" hidden="1">
                        <a:extLst>
                          <a:ext uri="{FF2B5EF4-FFF2-40B4-BE49-F238E27FC236}">
                            <a16:creationId xmlns:a16="http://schemas.microsoft.com/office/drawing/2014/main" id="{0BCDC07B-DC7A-A0A7-D537-07008242337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9" name="Process0">
            <a:extLst>
              <a:ext uri="{FF2B5EF4-FFF2-40B4-BE49-F238E27FC236}">
                <a16:creationId xmlns:a16="http://schemas.microsoft.com/office/drawing/2014/main" id="{E6EC976D-FACF-E767-D1FE-3D90F016AD27}"/>
              </a:ext>
            </a:extLst>
          </p:cNvPr>
          <p:cNvSpPr/>
          <p:nvPr/>
        </p:nvSpPr>
        <p:spPr>
          <a:xfrm>
            <a:off x="7620000" y="0"/>
            <a:ext cx="4572000" cy="3429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noAutofit/>
          </a:bodyPr>
          <a:lstStyle/>
          <a:p>
            <a:pPr algn="l">
              <a:lnSpc>
                <a:spcPct val="90000"/>
              </a:lnSpc>
            </a:pPr>
            <a:endParaRPr lang="en-US" sz="1600" b="1">
              <a:solidFill>
                <a:schemeClr val="tx2"/>
              </a:solidFill>
              <a:latin typeface="Arial" panose="020B0604020202020204" pitchFamily="34" charset="0"/>
            </a:endParaRPr>
          </a:p>
        </p:txBody>
      </p:sp>
      <p:sp>
        <p:nvSpPr>
          <p:cNvPr id="101" name="Process0">
            <a:extLst>
              <a:ext uri="{FF2B5EF4-FFF2-40B4-BE49-F238E27FC236}">
                <a16:creationId xmlns:a16="http://schemas.microsoft.com/office/drawing/2014/main" id="{8FEB7B2C-AC29-B35E-15E0-B9AA42BF8BDA}"/>
              </a:ext>
            </a:extLst>
          </p:cNvPr>
          <p:cNvSpPr/>
          <p:nvPr/>
        </p:nvSpPr>
        <p:spPr>
          <a:xfrm>
            <a:off x="3048000" y="3429000"/>
            <a:ext cx="4572000" cy="3429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0" tIns="381000" rIns="381000" bIns="0" numCol="1" spcCol="0" rtlCol="0" fromWordArt="0" anchor="t" anchorCtr="0" forceAA="0" compatLnSpc="1">
            <a:prstTxWarp prst="textNoShape">
              <a:avLst/>
            </a:prstTxWarp>
            <a:noAutofit/>
          </a:bodyPr>
          <a:lstStyle/>
          <a:p>
            <a:pPr>
              <a:lnSpc>
                <a:spcPct val="90000"/>
              </a:lnSpc>
            </a:pPr>
            <a:endParaRPr lang="en-US" sz="1600" b="1">
              <a:solidFill>
                <a:schemeClr val="tx2"/>
              </a:solidFill>
              <a:latin typeface="Arial" panose="020B0604020202020204" pitchFamily="34" charset="0"/>
            </a:endParaRPr>
          </a:p>
        </p:txBody>
      </p:sp>
      <p:sp>
        <p:nvSpPr>
          <p:cNvPr id="102" name="Process0">
            <a:extLst>
              <a:ext uri="{FF2B5EF4-FFF2-40B4-BE49-F238E27FC236}">
                <a16:creationId xmlns:a16="http://schemas.microsoft.com/office/drawing/2014/main" id="{9CDAE4C0-D909-AD92-35A1-87ADEBFE55AC}"/>
              </a:ext>
            </a:extLst>
          </p:cNvPr>
          <p:cNvSpPr/>
          <p:nvPr/>
        </p:nvSpPr>
        <p:spPr>
          <a:xfrm>
            <a:off x="7620000" y="3429000"/>
            <a:ext cx="4572000" cy="3429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0" tIns="381000" rIns="381000" bIns="0" numCol="1" spcCol="0" rtlCol="0" fromWordArt="0" anchor="t" anchorCtr="0" forceAA="0" compatLnSpc="1">
            <a:prstTxWarp prst="textNoShape">
              <a:avLst/>
            </a:prstTxWarp>
            <a:noAutofit/>
          </a:bodyPr>
          <a:lstStyle/>
          <a:p>
            <a:pPr>
              <a:lnSpc>
                <a:spcPct val="90000"/>
              </a:lnSpc>
            </a:pPr>
            <a:endParaRPr lang="en-US" sz="1600" b="1">
              <a:solidFill>
                <a:schemeClr val="tx2"/>
              </a:solidFill>
              <a:latin typeface="Arial" panose="020B0604020202020204" pitchFamily="34" charset="0"/>
            </a:endParaRPr>
          </a:p>
        </p:txBody>
      </p:sp>
      <p:sp>
        <p:nvSpPr>
          <p:cNvPr id="8" name="Process0">
            <a:extLst>
              <a:ext uri="{FF2B5EF4-FFF2-40B4-BE49-F238E27FC236}">
                <a16:creationId xmlns:a16="http://schemas.microsoft.com/office/drawing/2014/main" id="{CCCCBCE2-82F9-648E-9234-AD2D93432999}"/>
              </a:ext>
            </a:extLst>
          </p:cNvPr>
          <p:cNvSpPr/>
          <p:nvPr/>
        </p:nvSpPr>
        <p:spPr>
          <a:xfrm>
            <a:off x="3048000" y="0"/>
            <a:ext cx="4572000" cy="3429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noAutofit/>
          </a:bodyPr>
          <a:lstStyle/>
          <a:p>
            <a:pPr algn="l">
              <a:lnSpc>
                <a:spcPct val="90000"/>
              </a:lnSpc>
            </a:pPr>
            <a:endParaRPr lang="en-US" sz="1600" b="1">
              <a:solidFill>
                <a:schemeClr val="tx2"/>
              </a:solidFill>
              <a:latin typeface="Arial" panose="020B0604020202020204" pitchFamily="34" charset="0"/>
            </a:endParaRPr>
          </a:p>
        </p:txBody>
      </p:sp>
      <p:sp>
        <p:nvSpPr>
          <p:cNvPr id="2" name="Title 1">
            <a:extLst>
              <a:ext uri="{FF2B5EF4-FFF2-40B4-BE49-F238E27FC236}">
                <a16:creationId xmlns:a16="http://schemas.microsoft.com/office/drawing/2014/main" id="{C9C8448E-3ADC-C0D2-0F26-9069E945D200}"/>
              </a:ext>
            </a:extLst>
          </p:cNvPr>
          <p:cNvSpPr>
            <a:spLocks noGrp="1"/>
          </p:cNvSpPr>
          <p:nvPr>
            <p:ph type="title"/>
          </p:nvPr>
        </p:nvSpPr>
        <p:spPr>
          <a:xfrm>
            <a:off x="381000" y="381000"/>
            <a:ext cx="2286000" cy="2215991"/>
          </a:xfrm>
        </p:spPr>
        <p:txBody>
          <a:bodyPr vert="horz"/>
          <a:lstStyle/>
          <a:p>
            <a:r>
              <a:rPr lang="en-US" dirty="0">
                <a:ea typeface="+mj-lt"/>
                <a:cs typeface="+mj-lt"/>
              </a:rPr>
              <a:t>Exiting the target goods has only a minimal impact on durable goods</a:t>
            </a:r>
          </a:p>
        </p:txBody>
      </p:sp>
      <p:sp>
        <p:nvSpPr>
          <p:cNvPr id="5" name="TextBox 4">
            <a:extLst>
              <a:ext uri="{FF2B5EF4-FFF2-40B4-BE49-F238E27FC236}">
                <a16:creationId xmlns:a16="http://schemas.microsoft.com/office/drawing/2014/main" id="{A12626E8-5258-AEA2-3E01-C1BF4F83EC4F}"/>
              </a:ext>
            </a:extLst>
          </p:cNvPr>
          <p:cNvSpPr txBox="1"/>
          <p:nvPr/>
        </p:nvSpPr>
        <p:spPr>
          <a:xfrm>
            <a:off x="381000" y="3429000"/>
            <a:ext cx="2286000" cy="457200"/>
          </a:xfrm>
          <a:prstGeom prst="rect">
            <a:avLst/>
          </a:prstGeom>
          <a:noFill/>
          <a:ln w="6350">
            <a:noFill/>
          </a:ln>
          <a:extLst>
            <a:ext uri="{91240B29-F687-4F45-9708-019B960494DF}">
              <a14:hiddenLine xmlns:a14="http://schemas.microsoft.com/office/drawing/2010/main" w="6350">
                <a:solidFill>
                  <a:schemeClr val="tx1"/>
                </a:solidFill>
              </a14:hiddenLine>
            </a:ext>
          </a:extLst>
        </p:spPr>
        <p:txBody>
          <a:bodyPr wrap="square" lIns="0" tIns="0" rIns="0" bIns="0" rtlCol="0" anchor="t" anchorCtr="0">
            <a:noAutofit/>
          </a:bodyPr>
          <a:lstStyle/>
          <a:p>
            <a:pPr>
              <a:lnSpc>
                <a:spcPct val="90000"/>
              </a:lnSpc>
            </a:pPr>
            <a:r>
              <a:rPr lang="en-US" sz="1100" b="1">
                <a:solidFill>
                  <a:schemeClr val="accent3"/>
                </a:solidFill>
                <a:latin typeface="Arial" panose="020B0604020202020204" pitchFamily="34" charset="0"/>
              </a:rPr>
              <a:t>Further details for </a:t>
            </a:r>
            <a:r>
              <a:rPr lang="en-US" altLang="zh-TW" sz="1100" b="1">
                <a:solidFill>
                  <a:schemeClr val="accent3"/>
                </a:solidFill>
                <a:latin typeface="Arial" panose="020B0604020202020204" pitchFamily="34" charset="0"/>
                <a:ea typeface="微軟正黑體"/>
                <a:cs typeface="Arial"/>
              </a:rPr>
              <a:t>competitive analysis by retailer by category </a:t>
            </a:r>
            <a:r>
              <a:rPr lang="en-US" sz="1100" b="1">
                <a:solidFill>
                  <a:schemeClr val="accent3"/>
                </a:solidFill>
                <a:latin typeface="Arial" panose="020B0604020202020204" pitchFamily="34" charset="0"/>
                <a:hlinkClick r:id="rId40" action="ppaction://hlinksldjump">
                  <a:extLst>
                    <a:ext uri="{A12FA001-AC4F-418D-AE19-62706E023703}">
                      <ahyp:hlinkClr xmlns:ahyp="http://schemas.microsoft.com/office/drawing/2018/hyperlinkcolor" val="tx"/>
                    </a:ext>
                  </a:extLst>
                </a:hlinkClick>
              </a:rPr>
              <a:t>Appendix 3.2</a:t>
            </a:r>
            <a:endParaRPr lang="en-US" sz="1100" b="1">
              <a:solidFill>
                <a:schemeClr val="accent3"/>
              </a:solidFill>
              <a:latin typeface="Arial" panose="020B0604020202020204" pitchFamily="34" charset="0"/>
              <a:cs typeface="Arial"/>
              <a:hlinkClick r:id="" action="ppaction://noaction">
                <a:extLst>
                  <a:ext uri="{A12FA001-AC4F-418D-AE19-62706E023703}">
                    <ahyp:hlinkClr xmlns:ahyp="http://schemas.microsoft.com/office/drawing/2018/hyperlinkcolor" val="tx"/>
                  </a:ext>
                </a:extLst>
              </a:hlinkClick>
            </a:endParaRPr>
          </a:p>
        </p:txBody>
      </p:sp>
      <p:sp>
        <p:nvSpPr>
          <p:cNvPr id="6" name="Rectangle 2">
            <a:extLst>
              <a:ext uri="{FF2B5EF4-FFF2-40B4-BE49-F238E27FC236}">
                <a16:creationId xmlns:a16="http://schemas.microsoft.com/office/drawing/2014/main" id="{487D0819-5C02-C285-B2BD-51E404EA34CD}"/>
              </a:ext>
            </a:extLst>
          </p:cNvPr>
          <p:cNvSpPr txBox="1">
            <a:spLocks noChangeArrowheads="1"/>
          </p:cNvSpPr>
          <p:nvPr/>
        </p:nvSpPr>
        <p:spPr bwMode="gray">
          <a:xfrm>
            <a:off x="381000" y="5925312"/>
            <a:ext cx="2286000" cy="166243"/>
          </a:xfrm>
          <a:prstGeom prst="rect">
            <a:avLst/>
          </a:prstGeom>
        </p:spPr>
        <p:txBody>
          <a:bodyPr vert="horz" wrap="square" lIns="0" tIns="0" rIns="0" bIns="0" rtlCol="0" anchor="b" anchorCtr="0">
            <a:sp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pPr fontAlgn="b">
              <a:defRPr/>
            </a:pPr>
            <a:r>
              <a:rPr lang="en-US" sz="1200">
                <a:solidFill>
                  <a:schemeClr val="tx1"/>
                </a:solidFill>
                <a:latin typeface="Arial" panose="020B0604020202020204" pitchFamily="34" charset="0"/>
              </a:rPr>
              <a:t>Issue 2</a:t>
            </a:r>
          </a:p>
        </p:txBody>
      </p:sp>
      <p:sp>
        <p:nvSpPr>
          <p:cNvPr id="7" name="TextBox 6">
            <a:extLst>
              <a:ext uri="{FF2B5EF4-FFF2-40B4-BE49-F238E27FC236}">
                <a16:creationId xmlns:a16="http://schemas.microsoft.com/office/drawing/2014/main" id="{D3059DC3-091D-5B69-C8EC-37C1E8EAFA44}"/>
              </a:ext>
            </a:extLst>
          </p:cNvPr>
          <p:cNvSpPr txBox="1"/>
          <p:nvPr/>
        </p:nvSpPr>
        <p:spPr>
          <a:xfrm>
            <a:off x="3429000" y="6096000"/>
            <a:ext cx="8378825" cy="381000"/>
          </a:xfrm>
          <a:prstGeom prst="rect">
            <a:avLst/>
          </a:prstGeom>
          <a:noFill/>
        </p:spPr>
        <p:txBody>
          <a:bodyPr wrap="square" lIns="0" tIns="0" rIns="0" bIns="0" anchor="b" anchorCtr="0">
            <a:noAutofit/>
          </a:bodyPr>
          <a:lstStyle/>
          <a:p>
            <a:pPr>
              <a:lnSpc>
                <a:spcPct val="90000"/>
              </a:lnSpc>
            </a:pPr>
            <a:r>
              <a:rPr lang="en-US" sz="700">
                <a:latin typeface="Arial" panose="020B0604020202020204" pitchFamily="34" charset="0"/>
                <a:cs typeface="Arial"/>
              </a:rPr>
              <a:t>Source: Market Research</a:t>
            </a:r>
            <a:endParaRPr lang="en-US" sz="700">
              <a:latin typeface="Arial" panose="020B0604020202020204" pitchFamily="34" charset="0"/>
            </a:endParaRPr>
          </a:p>
        </p:txBody>
      </p:sp>
      <p:sp>
        <p:nvSpPr>
          <p:cNvPr id="10" name="Rectangle 66">
            <a:extLst>
              <a:ext uri="{FF2B5EF4-FFF2-40B4-BE49-F238E27FC236}">
                <a16:creationId xmlns:a16="http://schemas.microsoft.com/office/drawing/2014/main" id="{98A14FA7-C3AF-6B90-CF12-6E8CE59A7CCC}"/>
              </a:ext>
            </a:extLst>
          </p:cNvPr>
          <p:cNvSpPr/>
          <p:nvPr/>
        </p:nvSpPr>
        <p:spPr>
          <a:xfrm>
            <a:off x="3428999" y="381000"/>
            <a:ext cx="3810001" cy="664797"/>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pPr>
            <a:r>
              <a:rPr lang="en" altLang="zh-TW" sz="1600" b="1">
                <a:solidFill>
                  <a:schemeClr val="tx2"/>
                </a:solidFill>
                <a:effectLst/>
                <a:latin typeface="Arial" panose="020B0604020202020204" pitchFamily="34" charset="0"/>
                <a:ea typeface="微軟正黑體"/>
              </a:rPr>
              <a:t>In </a:t>
            </a:r>
            <a:r>
              <a:rPr lang="en" altLang="zh-TW" sz="1600" b="1">
                <a:solidFill>
                  <a:schemeClr val="tx2"/>
                </a:solidFill>
                <a:latin typeface="Arial" panose="020B0604020202020204" pitchFamily="34" charset="0"/>
                <a:ea typeface="微軟正黑體"/>
              </a:rPr>
              <a:t>durable goods </a:t>
            </a:r>
            <a:r>
              <a:rPr lang="en" altLang="zh-TW" sz="1600" b="1">
                <a:solidFill>
                  <a:schemeClr val="tx2"/>
                </a:solidFill>
                <a:effectLst/>
                <a:latin typeface="Arial" panose="020B0604020202020204" pitchFamily="34" charset="0"/>
                <a:ea typeface="微軟正黑體"/>
              </a:rPr>
              <a:t>profit, only a small portion comes from customers who purchase </a:t>
            </a:r>
            <a:r>
              <a:rPr lang="en" altLang="zh-TW" sz="1600" b="1">
                <a:solidFill>
                  <a:schemeClr val="tx2"/>
                </a:solidFill>
                <a:latin typeface="Arial" panose="020B0604020202020204" pitchFamily="34" charset="0"/>
                <a:ea typeface="微軟正黑體"/>
              </a:rPr>
              <a:t>goods. </a:t>
            </a:r>
            <a:endParaRPr lang="en" altLang="zh-TW" sz="1600" b="1">
              <a:solidFill>
                <a:schemeClr val="tx2"/>
              </a:solidFill>
              <a:effectLst/>
              <a:latin typeface="Arial" panose="020B0604020202020204" pitchFamily="34" charset="0"/>
            </a:endParaRPr>
          </a:p>
        </p:txBody>
      </p:sp>
      <p:sp>
        <p:nvSpPr>
          <p:cNvPr id="13" name="Rectangle 66">
            <a:extLst>
              <a:ext uri="{FF2B5EF4-FFF2-40B4-BE49-F238E27FC236}">
                <a16:creationId xmlns:a16="http://schemas.microsoft.com/office/drawing/2014/main" id="{AA95A3D4-4007-2568-49D6-F4A08733B5D8}"/>
              </a:ext>
            </a:extLst>
          </p:cNvPr>
          <p:cNvSpPr/>
          <p:nvPr/>
        </p:nvSpPr>
        <p:spPr>
          <a:xfrm>
            <a:off x="8000999" y="398336"/>
            <a:ext cx="3813048" cy="935163"/>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lvl="1" defTabSz="966788">
              <a:lnSpc>
                <a:spcPct val="90000"/>
              </a:lnSpc>
              <a:spcBef>
                <a:spcPts val="300"/>
              </a:spcBef>
              <a:buClr>
                <a:srgbClr val="1E1E1E"/>
              </a:buClr>
              <a:buSzPct val="100000"/>
            </a:pPr>
            <a:r>
              <a:rPr lang="en" altLang="zh-TW" sz="1600" b="1">
                <a:solidFill>
                  <a:schemeClr val="tx2"/>
                </a:solidFill>
                <a:effectLst/>
                <a:latin typeface="+mj-lt"/>
                <a:ea typeface="微軟正黑體"/>
              </a:rPr>
              <a:t>Little impact on </a:t>
            </a:r>
            <a:r>
              <a:rPr lang="en" altLang="zh-TW" sz="1600" b="1">
                <a:solidFill>
                  <a:schemeClr val="tx2"/>
                </a:solidFill>
                <a:latin typeface="+mj-lt"/>
                <a:ea typeface="微軟正黑體"/>
              </a:rPr>
              <a:t>durable goods</a:t>
            </a:r>
          </a:p>
          <a:p>
            <a:pPr marL="0" lvl="1" defTabSz="966788">
              <a:lnSpc>
                <a:spcPct val="90000"/>
              </a:lnSpc>
              <a:spcBef>
                <a:spcPts val="300"/>
              </a:spcBef>
              <a:buClr>
                <a:srgbClr val="1E1E1E"/>
              </a:buClr>
              <a:buSzPct val="100000"/>
            </a:pPr>
            <a:r>
              <a:rPr lang="en" altLang="zh-TW" sz="1400">
                <a:solidFill>
                  <a:schemeClr val="tx1"/>
                </a:solidFill>
                <a:latin typeface="+mj-lt"/>
                <a:ea typeface="微軟正黑體"/>
              </a:rPr>
              <a:t>Durable goods sales are independent </a:t>
            </a:r>
            <a:br>
              <a:rPr lang="en" altLang="zh-TW" sz="1400" dirty="0">
                <a:latin typeface="+mj-lt"/>
                <a:ea typeface="微軟正黑體"/>
              </a:rPr>
            </a:br>
            <a:r>
              <a:rPr lang="en" altLang="zh-TW" sz="1400">
                <a:solidFill>
                  <a:schemeClr val="tx1"/>
                </a:solidFill>
                <a:latin typeface="+mj-lt"/>
                <a:ea typeface="微軟正黑體"/>
              </a:rPr>
              <a:t>of </a:t>
            </a:r>
            <a:r>
              <a:rPr lang="en" altLang="zh-TW" sz="1400" dirty="0">
                <a:solidFill>
                  <a:schemeClr val="tx1"/>
                </a:solidFill>
                <a:latin typeface="+mj-lt"/>
                <a:ea typeface="微軟正黑體"/>
              </a:rPr>
              <a:t>target </a:t>
            </a:r>
            <a:r>
              <a:rPr lang="en" altLang="zh-TW" sz="1400">
                <a:solidFill>
                  <a:schemeClr val="tx1"/>
                </a:solidFill>
                <a:latin typeface="+mj-lt"/>
                <a:ea typeface="微軟正黑體"/>
              </a:rPr>
              <a:t>goods, so exiting </a:t>
            </a:r>
            <a:r>
              <a:rPr lang="en" altLang="zh-TW" sz="1400" dirty="0">
                <a:solidFill>
                  <a:schemeClr val="tx1"/>
                </a:solidFill>
                <a:latin typeface="+mj-lt"/>
                <a:ea typeface="微軟正黑體"/>
              </a:rPr>
              <a:t>target </a:t>
            </a:r>
            <a:r>
              <a:rPr lang="en" sz="1400">
                <a:solidFill>
                  <a:schemeClr val="tx1"/>
                </a:solidFill>
                <a:latin typeface="+mj-lt"/>
                <a:ea typeface="微軟正黑體"/>
              </a:rPr>
              <a:t>goods</a:t>
            </a:r>
            <a:r>
              <a:rPr lang="en" altLang="zh-TW" sz="1400">
                <a:solidFill>
                  <a:schemeClr val="tx1"/>
                </a:solidFill>
                <a:latin typeface="+mj-lt"/>
                <a:ea typeface="微軟正黑體"/>
              </a:rPr>
              <a:t> will </a:t>
            </a:r>
            <a:br>
              <a:rPr lang="en" altLang="zh-TW" sz="1400" dirty="0">
                <a:latin typeface="+mj-lt"/>
                <a:ea typeface="微軟正黑體"/>
              </a:rPr>
            </a:br>
            <a:r>
              <a:rPr lang="en" altLang="zh-TW" sz="1400">
                <a:solidFill>
                  <a:schemeClr val="tx1"/>
                </a:solidFill>
                <a:latin typeface="+mj-lt"/>
                <a:ea typeface="微軟正黑體"/>
              </a:rPr>
              <a:t>have minimal impact.</a:t>
            </a:r>
            <a:endParaRPr lang="en" altLang="zh-TW" sz="1400">
              <a:solidFill>
                <a:schemeClr val="tx1"/>
              </a:solidFill>
              <a:highlight>
                <a:srgbClr val="FFFF00"/>
              </a:highlight>
              <a:latin typeface="+mj-lt"/>
              <a:ea typeface="微軟正黑體"/>
              <a:cs typeface="+mn-lt"/>
            </a:endParaRPr>
          </a:p>
        </p:txBody>
      </p:sp>
      <p:pic>
        <p:nvPicPr>
          <p:cNvPr id="16" name="Graphic 28">
            <a:extLst>
              <a:ext uri="{FF2B5EF4-FFF2-40B4-BE49-F238E27FC236}">
                <a16:creationId xmlns:a16="http://schemas.microsoft.com/office/drawing/2014/main" id="{1810EDA7-CB5F-56BB-EF1B-88EE8EAEA822}"/>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1389800" y="1178897"/>
            <a:ext cx="421200" cy="428919"/>
          </a:xfrm>
          <a:prstGeom prst="rect">
            <a:avLst/>
          </a:prstGeom>
        </p:spPr>
      </p:pic>
      <p:pic>
        <p:nvPicPr>
          <p:cNvPr id="21" name="图片 30" descr="图片包含 游戏机, 物体, 钟表, 画&#10;&#10;AI 生成的内容可能不正确。">
            <a:extLst>
              <a:ext uri="{FF2B5EF4-FFF2-40B4-BE49-F238E27FC236}">
                <a16:creationId xmlns:a16="http://schemas.microsoft.com/office/drawing/2014/main" id="{D55871EC-7D42-29CE-E13E-4D942C3DAA84}"/>
              </a:ext>
            </a:extLst>
          </p:cNvPr>
          <p:cNvPicPr>
            <a:picLocks noChangeAspect="1"/>
          </p:cNvPicPr>
          <p:nvPr/>
        </p:nvPicPr>
        <p:blipFill>
          <a:blip r:embed="rId43"/>
          <a:stretch>
            <a:fillRect/>
          </a:stretch>
        </p:blipFill>
        <p:spPr>
          <a:xfrm>
            <a:off x="11381991" y="2735299"/>
            <a:ext cx="429009" cy="457481"/>
          </a:xfrm>
          <a:prstGeom prst="rect">
            <a:avLst/>
          </a:prstGeom>
          <a:noFill/>
        </p:spPr>
      </p:pic>
      <p:sp>
        <p:nvSpPr>
          <p:cNvPr id="19" name="Rectangle 66">
            <a:extLst>
              <a:ext uri="{FF2B5EF4-FFF2-40B4-BE49-F238E27FC236}">
                <a16:creationId xmlns:a16="http://schemas.microsoft.com/office/drawing/2014/main" id="{F834F501-58CB-B35C-243B-2A01100E82A2}"/>
              </a:ext>
            </a:extLst>
          </p:cNvPr>
          <p:cNvSpPr/>
          <p:nvPr/>
        </p:nvSpPr>
        <p:spPr>
          <a:xfrm>
            <a:off x="8000999" y="1923405"/>
            <a:ext cx="3813048" cy="1268039"/>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0" lvl="1" defTabSz="966788">
              <a:lnSpc>
                <a:spcPct val="90000"/>
              </a:lnSpc>
              <a:spcBef>
                <a:spcPts val="300"/>
              </a:spcBef>
              <a:buClr>
                <a:srgbClr val="1E1E1E"/>
              </a:buClr>
              <a:buSzPct val="100000"/>
            </a:pPr>
            <a:r>
              <a:rPr lang="en-US" sz="1600" b="1">
                <a:solidFill>
                  <a:schemeClr val="tx2"/>
                </a:solidFill>
                <a:latin typeface="+mj-lt"/>
                <a:ea typeface="微軟正黑體"/>
              </a:rPr>
              <a:t>Reallocate resources</a:t>
            </a:r>
          </a:p>
          <a:p>
            <a:pPr marL="0" lvl="1" defTabSz="966788">
              <a:lnSpc>
                <a:spcPct val="90000"/>
              </a:lnSpc>
              <a:spcBef>
                <a:spcPts val="300"/>
              </a:spcBef>
              <a:buClr>
                <a:srgbClr val="1E1E1E"/>
              </a:buClr>
              <a:buSzPct val="100000"/>
            </a:pPr>
            <a:r>
              <a:rPr lang="en-US" sz="1400">
                <a:solidFill>
                  <a:srgbClr val="000000"/>
                </a:solidFill>
                <a:latin typeface="+mj-lt"/>
                <a:ea typeface="+mn-lt"/>
                <a:cs typeface="+mn-lt"/>
              </a:rPr>
              <a:t>Shift investment from </a:t>
            </a:r>
            <a:r>
              <a:rPr lang="en-US" sz="1400" dirty="0">
                <a:solidFill>
                  <a:srgbClr val="000000"/>
                </a:solidFill>
                <a:latin typeface="+mj-lt"/>
                <a:ea typeface="+mn-lt"/>
                <a:cs typeface="+mn-lt"/>
              </a:rPr>
              <a:t>target </a:t>
            </a:r>
            <a:r>
              <a:rPr lang="en-US" sz="1400">
                <a:solidFill>
                  <a:srgbClr val="000000"/>
                </a:solidFill>
                <a:latin typeface="+mj-lt"/>
                <a:ea typeface="+mn-lt"/>
                <a:cs typeface="+mn-lt"/>
              </a:rPr>
              <a:t>goods to </a:t>
            </a:r>
            <a:r>
              <a:rPr lang="en-US" sz="1400">
                <a:solidFill>
                  <a:srgbClr val="7922DD"/>
                </a:solidFill>
                <a:latin typeface="+mj-lt"/>
                <a:ea typeface="+mn-lt"/>
                <a:cs typeface="+mn-lt"/>
              </a:rPr>
              <a:t>high-margin durable goods products</a:t>
            </a:r>
            <a:r>
              <a:rPr lang="en-US" sz="1400">
                <a:solidFill>
                  <a:srgbClr val="000000"/>
                </a:solidFill>
                <a:latin typeface="+mj-lt"/>
                <a:ea typeface="+mn-lt"/>
                <a:cs typeface="+mn-lt"/>
              </a:rPr>
              <a:t>.</a:t>
            </a:r>
          </a:p>
          <a:p>
            <a:pPr marL="152400" indent="-152400">
              <a:lnSpc>
                <a:spcPct val="90000"/>
              </a:lnSpc>
              <a:spcBef>
                <a:spcPts val="100"/>
              </a:spcBef>
              <a:buClr>
                <a:srgbClr val="000000"/>
              </a:buClr>
              <a:buSzPct val="100000"/>
              <a:buFont typeface="Arial" panose="020B0604020202020204" pitchFamily="34" charset="0"/>
              <a:buChar char="–"/>
            </a:pPr>
            <a:r>
              <a:rPr lang="en-US" sz="1400">
                <a:solidFill>
                  <a:srgbClr val="000000"/>
                </a:solidFill>
                <a:latin typeface="+mj-lt"/>
                <a:ea typeface="+mn-lt"/>
                <a:cs typeface="+mn-lt"/>
              </a:rPr>
              <a:t>Durable goods A: High Value</a:t>
            </a:r>
            <a:endParaRPr lang="en-US" sz="1400">
              <a:latin typeface="+mj-lt"/>
            </a:endParaRPr>
          </a:p>
          <a:p>
            <a:pPr marL="152400" indent="-152400">
              <a:lnSpc>
                <a:spcPct val="90000"/>
              </a:lnSpc>
              <a:spcBef>
                <a:spcPts val="100"/>
              </a:spcBef>
              <a:buClr>
                <a:srgbClr val="000000"/>
              </a:buClr>
              <a:buSzPct val="100000"/>
              <a:buFont typeface="Arial" panose="020B0604020202020204" pitchFamily="34" charset="0"/>
              <a:buChar char="–"/>
            </a:pPr>
            <a:r>
              <a:rPr lang="en-US" sz="1400">
                <a:solidFill>
                  <a:srgbClr val="000000"/>
                </a:solidFill>
                <a:latin typeface="+mj-lt"/>
                <a:ea typeface="+mn-lt"/>
                <a:cs typeface="+mn-lt"/>
              </a:rPr>
              <a:t>Durable goods B: Medium Value</a:t>
            </a:r>
          </a:p>
          <a:p>
            <a:pPr marL="152400" indent="-152400">
              <a:lnSpc>
                <a:spcPct val="90000"/>
              </a:lnSpc>
              <a:spcBef>
                <a:spcPts val="100"/>
              </a:spcBef>
              <a:buClr>
                <a:srgbClr val="000000"/>
              </a:buClr>
              <a:buSzPct val="100000"/>
              <a:buFont typeface="Arial" panose="020B0604020202020204" pitchFamily="34" charset="0"/>
              <a:buChar char="–"/>
            </a:pPr>
            <a:r>
              <a:rPr lang="en-US" sz="1400">
                <a:solidFill>
                  <a:srgbClr val="000000"/>
                </a:solidFill>
                <a:latin typeface="+mj-lt"/>
                <a:ea typeface="+mn-lt"/>
                <a:cs typeface="+mn-lt"/>
              </a:rPr>
              <a:t>Durable goods C: Low Value</a:t>
            </a:r>
            <a:endParaRPr lang="en-US" sz="1400">
              <a:latin typeface="+mj-lt"/>
            </a:endParaRPr>
          </a:p>
        </p:txBody>
      </p:sp>
      <p:sp>
        <p:nvSpPr>
          <p:cNvPr id="24" name="Rectangle 66">
            <a:extLst>
              <a:ext uri="{FF2B5EF4-FFF2-40B4-BE49-F238E27FC236}">
                <a16:creationId xmlns:a16="http://schemas.microsoft.com/office/drawing/2014/main" id="{B8C33119-FF7C-5CD6-3562-54E7A70055AE}"/>
              </a:ext>
            </a:extLst>
          </p:cNvPr>
          <p:cNvSpPr/>
          <p:nvPr/>
        </p:nvSpPr>
        <p:spPr>
          <a:xfrm>
            <a:off x="3428999" y="3733800"/>
            <a:ext cx="3810001" cy="443198"/>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pPr>
            <a:r>
              <a:rPr lang="en" altLang="zh-TW" sz="1600" b="1">
                <a:solidFill>
                  <a:schemeClr val="tx2"/>
                </a:solidFill>
                <a:effectLst/>
                <a:latin typeface="Arial" panose="020B0604020202020204" pitchFamily="34" charset="0"/>
                <a:ea typeface="微軟正黑體"/>
              </a:rPr>
              <a:t>Beginner vs. Non-beginner complaints by category</a:t>
            </a:r>
            <a:endParaRPr lang="en" altLang="zh-TW" sz="1600" b="1">
              <a:solidFill>
                <a:schemeClr val="tx2"/>
              </a:solidFill>
              <a:effectLst/>
              <a:latin typeface="Arial" panose="020B0604020202020204" pitchFamily="34" charset="0"/>
            </a:endParaRPr>
          </a:p>
        </p:txBody>
      </p:sp>
      <p:cxnSp>
        <p:nvCxnSpPr>
          <p:cNvPr id="104" name="Straight Connector 103">
            <a:extLst>
              <a:ext uri="{FF2B5EF4-FFF2-40B4-BE49-F238E27FC236}">
                <a16:creationId xmlns:a16="http://schemas.microsoft.com/office/drawing/2014/main" id="{5179CF0D-3BA2-020D-166D-F3D4A63A3BC8}"/>
              </a:ext>
            </a:extLst>
          </p:cNvPr>
          <p:cNvCxnSpPr>
            <a:cxnSpLocks/>
          </p:cNvCxnSpPr>
          <p:nvPr/>
        </p:nvCxnSpPr>
        <p:spPr>
          <a:xfrm>
            <a:off x="8001000" y="1725789"/>
            <a:ext cx="381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5C197AED-864D-92EC-28A4-01EDB2C5BFA3}"/>
              </a:ext>
            </a:extLst>
          </p:cNvPr>
          <p:cNvCxnSpPr>
            <a:cxnSpLocks/>
          </p:cNvCxnSpPr>
          <p:nvPr/>
        </p:nvCxnSpPr>
        <p:spPr>
          <a:xfrm>
            <a:off x="8001000" y="5143500"/>
            <a:ext cx="381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Rectangle 66">
            <a:extLst>
              <a:ext uri="{FF2B5EF4-FFF2-40B4-BE49-F238E27FC236}">
                <a16:creationId xmlns:a16="http://schemas.microsoft.com/office/drawing/2014/main" id="{28D04310-023F-FFA4-F993-E458321761CE}"/>
              </a:ext>
            </a:extLst>
          </p:cNvPr>
          <p:cNvSpPr/>
          <p:nvPr/>
        </p:nvSpPr>
        <p:spPr>
          <a:xfrm>
            <a:off x="8000999" y="3733800"/>
            <a:ext cx="3813048" cy="1257267"/>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0" lvl="1" defTabSz="966788">
              <a:lnSpc>
                <a:spcPct val="90000"/>
              </a:lnSpc>
              <a:spcBef>
                <a:spcPts val="300"/>
              </a:spcBef>
              <a:buClr>
                <a:srgbClr val="1E1E1E"/>
              </a:buClr>
              <a:buSzPct val="100000"/>
            </a:pPr>
            <a:r>
              <a:rPr lang="en-US" sz="1600" b="1">
                <a:solidFill>
                  <a:schemeClr val="tx2"/>
                </a:solidFill>
                <a:latin typeface="+mj-lt"/>
                <a:ea typeface="微軟正黑體"/>
              </a:rPr>
              <a:t>Little impact on new </a:t>
            </a:r>
            <a:br>
              <a:rPr lang="en-US" sz="1600" b="1">
                <a:solidFill>
                  <a:schemeClr val="tx2"/>
                </a:solidFill>
                <a:latin typeface="+mj-lt"/>
                <a:ea typeface="微軟正黑體"/>
              </a:rPr>
            </a:br>
            <a:r>
              <a:rPr lang="en-US" sz="1600" b="1">
                <a:solidFill>
                  <a:schemeClr val="tx2"/>
                </a:solidFill>
                <a:latin typeface="+mj-lt"/>
                <a:ea typeface="微軟正黑體"/>
              </a:rPr>
              <a:t>consumer acquisition</a:t>
            </a:r>
          </a:p>
          <a:p>
            <a:pPr marL="0" lvl="1" defTabSz="966788">
              <a:lnSpc>
                <a:spcPct val="90000"/>
              </a:lnSpc>
              <a:spcBef>
                <a:spcPts val="300"/>
              </a:spcBef>
              <a:buClr>
                <a:srgbClr val="1E1E1E"/>
              </a:buClr>
              <a:buSzPct val="100000"/>
            </a:pPr>
            <a:r>
              <a:rPr lang="en-US" sz="1400">
                <a:solidFill>
                  <a:srgbClr val="000000"/>
                </a:solidFill>
                <a:latin typeface="+mj-lt"/>
                <a:ea typeface="+mn-lt"/>
                <a:cs typeface="+mn-lt"/>
              </a:rPr>
              <a:t>Few beginner complaints from starter bundles suggest its minimal </a:t>
            </a:r>
            <a:br>
              <a:rPr lang="en-US" sz="1400">
                <a:solidFill>
                  <a:srgbClr val="000000"/>
                </a:solidFill>
                <a:latin typeface="+mj-lt"/>
                <a:ea typeface="+mn-lt"/>
                <a:cs typeface="+mn-lt"/>
              </a:rPr>
            </a:br>
            <a:r>
              <a:rPr lang="en-US" sz="1400">
                <a:solidFill>
                  <a:srgbClr val="000000"/>
                </a:solidFill>
                <a:latin typeface="+mj-lt"/>
                <a:ea typeface="+mn-lt"/>
                <a:cs typeface="+mn-lt"/>
              </a:rPr>
              <a:t>impact on new consumer </a:t>
            </a:r>
            <a:br>
              <a:rPr lang="en-US" sz="1400">
                <a:solidFill>
                  <a:srgbClr val="000000"/>
                </a:solidFill>
                <a:latin typeface="+mj-lt"/>
                <a:ea typeface="+mn-lt"/>
                <a:cs typeface="+mn-lt"/>
              </a:rPr>
            </a:br>
            <a:r>
              <a:rPr lang="en-US" sz="1400">
                <a:solidFill>
                  <a:srgbClr val="000000"/>
                </a:solidFill>
                <a:latin typeface="+mj-lt"/>
                <a:ea typeface="+mn-lt"/>
                <a:cs typeface="+mn-lt"/>
              </a:rPr>
              <a:t>acquisition if exited.</a:t>
            </a:r>
          </a:p>
        </p:txBody>
      </p:sp>
      <p:sp>
        <p:nvSpPr>
          <p:cNvPr id="108" name="Rectangle 66">
            <a:extLst>
              <a:ext uri="{FF2B5EF4-FFF2-40B4-BE49-F238E27FC236}">
                <a16:creationId xmlns:a16="http://schemas.microsoft.com/office/drawing/2014/main" id="{358EA4B0-C7E2-E64E-EB55-45C2AAFF1D63}"/>
              </a:ext>
            </a:extLst>
          </p:cNvPr>
          <p:cNvSpPr/>
          <p:nvPr/>
        </p:nvSpPr>
        <p:spPr>
          <a:xfrm>
            <a:off x="8000999" y="5300698"/>
            <a:ext cx="3813048" cy="1244443"/>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marL="0" lvl="1" defTabSz="966788">
              <a:lnSpc>
                <a:spcPct val="90000"/>
              </a:lnSpc>
              <a:spcBef>
                <a:spcPts val="200"/>
              </a:spcBef>
              <a:buClr>
                <a:srgbClr val="1E1E1E"/>
              </a:buClr>
              <a:buSzPct val="100000"/>
            </a:pPr>
            <a:r>
              <a:rPr lang="en-US" sz="1600" b="1">
                <a:solidFill>
                  <a:schemeClr val="tx2"/>
                </a:solidFill>
                <a:latin typeface="+mj-lt"/>
                <a:ea typeface="微軟正黑體"/>
              </a:rPr>
              <a:t>Focus on prioritizing durable </a:t>
            </a:r>
            <a:br>
              <a:rPr lang="en-US" sz="1600" b="1" dirty="0">
                <a:latin typeface="+mj-lt"/>
                <a:ea typeface="微軟正黑體"/>
              </a:rPr>
            </a:br>
            <a:r>
              <a:rPr lang="en-US" sz="1600" b="1">
                <a:solidFill>
                  <a:schemeClr val="tx2"/>
                </a:solidFill>
                <a:latin typeface="+mj-lt"/>
                <a:ea typeface="微軟正黑體"/>
              </a:rPr>
              <a:t>goods complaints</a:t>
            </a:r>
            <a:endParaRPr lang="en-US"/>
          </a:p>
          <a:p>
            <a:pPr marL="0" lvl="1" defTabSz="966788">
              <a:lnSpc>
                <a:spcPct val="90000"/>
              </a:lnSpc>
              <a:spcBef>
                <a:spcPts val="200"/>
              </a:spcBef>
              <a:buClr>
                <a:srgbClr val="1E1E1E"/>
              </a:buClr>
              <a:buSzPct val="100000"/>
            </a:pPr>
            <a:r>
              <a:rPr lang="en-US" sz="1400">
                <a:solidFill>
                  <a:srgbClr val="000000"/>
                </a:solidFill>
                <a:latin typeface="+mj-lt"/>
                <a:ea typeface="+mn-lt"/>
                <a:cs typeface="+mn-lt"/>
              </a:rPr>
              <a:t>Durable goods have the most </a:t>
            </a:r>
            <a:br>
              <a:rPr lang="en-US" sz="1400" dirty="0">
                <a:latin typeface="+mj-lt"/>
                <a:ea typeface="+mn-lt"/>
                <a:cs typeface="+mn-lt"/>
              </a:rPr>
            </a:br>
            <a:r>
              <a:rPr lang="en-US" sz="1400">
                <a:solidFill>
                  <a:srgbClr val="000000"/>
                </a:solidFill>
                <a:latin typeface="+mj-lt"/>
                <a:ea typeface="+mn-lt"/>
                <a:cs typeface="+mn-lt"/>
              </a:rPr>
              <a:t>complaints, so prioritize fixing </a:t>
            </a:r>
            <a:endParaRPr lang="en-US" sz="1400" dirty="0">
              <a:solidFill>
                <a:srgbClr val="000000"/>
              </a:solidFill>
              <a:latin typeface="+mj-lt"/>
              <a:ea typeface="+mn-lt"/>
              <a:cs typeface="+mn-lt"/>
            </a:endParaRPr>
          </a:p>
          <a:p>
            <a:pPr marL="0" lvl="1" defTabSz="966788">
              <a:lnSpc>
                <a:spcPct val="90000"/>
              </a:lnSpc>
              <a:buClr>
                <a:srgbClr val="1E1E1E"/>
              </a:buClr>
              <a:buSzPct val="100000"/>
            </a:pPr>
            <a:r>
              <a:rPr lang="en-US" sz="1400">
                <a:solidFill>
                  <a:srgbClr val="000000"/>
                </a:solidFill>
                <a:latin typeface="+mj-lt"/>
                <a:ea typeface="+mn-lt"/>
                <a:cs typeface="+mn-lt"/>
              </a:rPr>
              <a:t>them drives the biggest </a:t>
            </a:r>
            <a:br>
              <a:rPr lang="en-US" sz="1400" dirty="0">
                <a:latin typeface="+mj-lt"/>
                <a:ea typeface="+mn-lt"/>
                <a:cs typeface="+mn-lt"/>
              </a:rPr>
            </a:br>
            <a:r>
              <a:rPr lang="en-US" sz="1400">
                <a:solidFill>
                  <a:srgbClr val="000000"/>
                </a:solidFill>
                <a:latin typeface="+mj-lt"/>
                <a:ea typeface="+mn-lt"/>
                <a:cs typeface="+mn-lt"/>
              </a:rPr>
              <a:t>customer satisfaction gain.</a:t>
            </a:r>
            <a:endParaRPr lang="en-US" sz="1400" dirty="0">
              <a:solidFill>
                <a:srgbClr val="000000"/>
              </a:solidFill>
              <a:latin typeface="+mj-lt"/>
              <a:ea typeface="+mn-lt"/>
              <a:cs typeface="+mn-lt"/>
            </a:endParaRPr>
          </a:p>
        </p:txBody>
      </p:sp>
      <p:pic>
        <p:nvPicPr>
          <p:cNvPr id="111" name="Graphic 114">
            <a:extLst>
              <a:ext uri="{FF2B5EF4-FFF2-40B4-BE49-F238E27FC236}">
                <a16:creationId xmlns:a16="http://schemas.microsoft.com/office/drawing/2014/main" id="{82619B0A-D323-17AC-1B7D-2CB43B03EEDC}"/>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11332528" y="4472167"/>
            <a:ext cx="478472" cy="471731"/>
          </a:xfrm>
          <a:prstGeom prst="rect">
            <a:avLst/>
          </a:prstGeom>
        </p:spPr>
      </p:pic>
      <p:sp>
        <p:nvSpPr>
          <p:cNvPr id="114" name="Freeform: Shape 28">
            <a:extLst>
              <a:ext uri="{FF2B5EF4-FFF2-40B4-BE49-F238E27FC236}">
                <a16:creationId xmlns:a16="http://schemas.microsoft.com/office/drawing/2014/main" id="{8E2872CF-782F-1977-2ED1-5A06BBD26486}"/>
              </a:ext>
            </a:extLst>
          </p:cNvPr>
          <p:cNvSpPr/>
          <p:nvPr/>
        </p:nvSpPr>
        <p:spPr>
          <a:xfrm>
            <a:off x="11317454" y="6230639"/>
            <a:ext cx="493546" cy="469052"/>
          </a:xfrm>
          <a:custGeom>
            <a:avLst/>
            <a:gdLst>
              <a:gd name="connsiteX0" fmla="*/ 512805 w 751703"/>
              <a:gd name="connsiteY0" fmla="*/ 463378 h 731108"/>
              <a:gd name="connsiteX1" fmla="*/ 490151 w 751703"/>
              <a:gd name="connsiteY1" fmla="*/ 486032 h 731108"/>
              <a:gd name="connsiteX2" fmla="*/ 512805 w 751703"/>
              <a:gd name="connsiteY2" fmla="*/ 508686 h 731108"/>
              <a:gd name="connsiteX3" fmla="*/ 535459 w 751703"/>
              <a:gd name="connsiteY3" fmla="*/ 486032 h 731108"/>
              <a:gd name="connsiteX4" fmla="*/ 512805 w 751703"/>
              <a:gd name="connsiteY4" fmla="*/ 463378 h 731108"/>
              <a:gd name="connsiteX5" fmla="*/ 512805 w 751703"/>
              <a:gd name="connsiteY5" fmla="*/ 418070 h 731108"/>
              <a:gd name="connsiteX6" fmla="*/ 582826 w 751703"/>
              <a:gd name="connsiteY6" fmla="*/ 488092 h 731108"/>
              <a:gd name="connsiteX7" fmla="*/ 512805 w 751703"/>
              <a:gd name="connsiteY7" fmla="*/ 558113 h 731108"/>
              <a:gd name="connsiteX8" fmla="*/ 442783 w 751703"/>
              <a:gd name="connsiteY8" fmla="*/ 488092 h 731108"/>
              <a:gd name="connsiteX9" fmla="*/ 512805 w 751703"/>
              <a:gd name="connsiteY9" fmla="*/ 418070 h 731108"/>
              <a:gd name="connsiteX10" fmla="*/ 131805 w 751703"/>
              <a:gd name="connsiteY10" fmla="*/ 378940 h 731108"/>
              <a:gd name="connsiteX11" fmla="*/ 154459 w 751703"/>
              <a:gd name="connsiteY11" fmla="*/ 401594 h 731108"/>
              <a:gd name="connsiteX12" fmla="*/ 131805 w 751703"/>
              <a:gd name="connsiteY12" fmla="*/ 424248 h 731108"/>
              <a:gd name="connsiteX13" fmla="*/ 109151 w 751703"/>
              <a:gd name="connsiteY13" fmla="*/ 401594 h 731108"/>
              <a:gd name="connsiteX14" fmla="*/ 131805 w 751703"/>
              <a:gd name="connsiteY14" fmla="*/ 378940 h 731108"/>
              <a:gd name="connsiteX15" fmla="*/ 125627 w 751703"/>
              <a:gd name="connsiteY15" fmla="*/ 315097 h 731108"/>
              <a:gd name="connsiteX16" fmla="*/ 115330 w 751703"/>
              <a:gd name="connsiteY16" fmla="*/ 348048 h 731108"/>
              <a:gd name="connsiteX17" fmla="*/ 107092 w 751703"/>
              <a:gd name="connsiteY17" fmla="*/ 352167 h 731108"/>
              <a:gd name="connsiteX18" fmla="*/ 98854 w 751703"/>
              <a:gd name="connsiteY18" fmla="*/ 356286 h 731108"/>
              <a:gd name="connsiteX19" fmla="*/ 90616 w 751703"/>
              <a:gd name="connsiteY19" fmla="*/ 362464 h 731108"/>
              <a:gd name="connsiteX20" fmla="*/ 57665 w 751703"/>
              <a:gd name="connsiteY20" fmla="*/ 356286 h 731108"/>
              <a:gd name="connsiteX21" fmla="*/ 51486 w 751703"/>
              <a:gd name="connsiteY21" fmla="*/ 366583 h 731108"/>
              <a:gd name="connsiteX22" fmla="*/ 74141 w 751703"/>
              <a:gd name="connsiteY22" fmla="*/ 389237 h 731108"/>
              <a:gd name="connsiteX23" fmla="*/ 74141 w 751703"/>
              <a:gd name="connsiteY23" fmla="*/ 420129 h 731108"/>
              <a:gd name="connsiteX24" fmla="*/ 51486 w 751703"/>
              <a:gd name="connsiteY24" fmla="*/ 444843 h 731108"/>
              <a:gd name="connsiteX25" fmla="*/ 57665 w 751703"/>
              <a:gd name="connsiteY25" fmla="*/ 451021 h 731108"/>
              <a:gd name="connsiteX26" fmla="*/ 90616 w 751703"/>
              <a:gd name="connsiteY26" fmla="*/ 444843 h 731108"/>
              <a:gd name="connsiteX27" fmla="*/ 98854 w 751703"/>
              <a:gd name="connsiteY27" fmla="*/ 451021 h 731108"/>
              <a:gd name="connsiteX28" fmla="*/ 109151 w 751703"/>
              <a:gd name="connsiteY28" fmla="*/ 457199 h 731108"/>
              <a:gd name="connsiteX29" fmla="*/ 117389 w 751703"/>
              <a:gd name="connsiteY29" fmla="*/ 461318 h 731108"/>
              <a:gd name="connsiteX30" fmla="*/ 125627 w 751703"/>
              <a:gd name="connsiteY30" fmla="*/ 492210 h 731108"/>
              <a:gd name="connsiteX31" fmla="*/ 135924 w 751703"/>
              <a:gd name="connsiteY31" fmla="*/ 492210 h 731108"/>
              <a:gd name="connsiteX32" fmla="*/ 146222 w 751703"/>
              <a:gd name="connsiteY32" fmla="*/ 459259 h 731108"/>
              <a:gd name="connsiteX33" fmla="*/ 154459 w 751703"/>
              <a:gd name="connsiteY33" fmla="*/ 455140 h 731108"/>
              <a:gd name="connsiteX34" fmla="*/ 164757 w 751703"/>
              <a:gd name="connsiteY34" fmla="*/ 451021 h 731108"/>
              <a:gd name="connsiteX35" fmla="*/ 172995 w 751703"/>
              <a:gd name="connsiteY35" fmla="*/ 446902 h 731108"/>
              <a:gd name="connsiteX36" fmla="*/ 205946 w 751703"/>
              <a:gd name="connsiteY36" fmla="*/ 451021 h 731108"/>
              <a:gd name="connsiteX37" fmla="*/ 212124 w 751703"/>
              <a:gd name="connsiteY37" fmla="*/ 440724 h 731108"/>
              <a:gd name="connsiteX38" fmla="*/ 191530 w 751703"/>
              <a:gd name="connsiteY38" fmla="*/ 416010 h 731108"/>
              <a:gd name="connsiteX39" fmla="*/ 191530 w 751703"/>
              <a:gd name="connsiteY39" fmla="*/ 385118 h 731108"/>
              <a:gd name="connsiteX40" fmla="*/ 214184 w 751703"/>
              <a:gd name="connsiteY40" fmla="*/ 360405 h 731108"/>
              <a:gd name="connsiteX41" fmla="*/ 205946 w 751703"/>
              <a:gd name="connsiteY41" fmla="*/ 354226 h 731108"/>
              <a:gd name="connsiteX42" fmla="*/ 170935 w 751703"/>
              <a:gd name="connsiteY42" fmla="*/ 360405 h 731108"/>
              <a:gd name="connsiteX43" fmla="*/ 164757 w 751703"/>
              <a:gd name="connsiteY43" fmla="*/ 356286 h 731108"/>
              <a:gd name="connsiteX44" fmla="*/ 156519 w 751703"/>
              <a:gd name="connsiteY44" fmla="*/ 352167 h 731108"/>
              <a:gd name="connsiteX45" fmla="*/ 148281 w 751703"/>
              <a:gd name="connsiteY45" fmla="*/ 348048 h 731108"/>
              <a:gd name="connsiteX46" fmla="*/ 137984 w 751703"/>
              <a:gd name="connsiteY46" fmla="*/ 315097 h 731108"/>
              <a:gd name="connsiteX47" fmla="*/ 488092 w 751703"/>
              <a:gd name="connsiteY47" fmla="*/ 290383 h 731108"/>
              <a:gd name="connsiteX48" fmla="*/ 465438 w 751703"/>
              <a:gd name="connsiteY48" fmla="*/ 360405 h 731108"/>
              <a:gd name="connsiteX49" fmla="*/ 457200 w 751703"/>
              <a:gd name="connsiteY49" fmla="*/ 364524 h 731108"/>
              <a:gd name="connsiteX50" fmla="*/ 436605 w 751703"/>
              <a:gd name="connsiteY50" fmla="*/ 376881 h 731108"/>
              <a:gd name="connsiteX51" fmla="*/ 428367 w 751703"/>
              <a:gd name="connsiteY51" fmla="*/ 383059 h 731108"/>
              <a:gd name="connsiteX52" fmla="*/ 356286 w 751703"/>
              <a:gd name="connsiteY52" fmla="*/ 368643 h 731108"/>
              <a:gd name="connsiteX53" fmla="*/ 331573 w 751703"/>
              <a:gd name="connsiteY53" fmla="*/ 409832 h 731108"/>
              <a:gd name="connsiteX54" fmla="*/ 381000 w 751703"/>
              <a:gd name="connsiteY54" fmla="*/ 463378 h 731108"/>
              <a:gd name="connsiteX55" fmla="*/ 381000 w 751703"/>
              <a:gd name="connsiteY55" fmla="*/ 473675 h 731108"/>
              <a:gd name="connsiteX56" fmla="*/ 381000 w 751703"/>
              <a:gd name="connsiteY56" fmla="*/ 486032 h 731108"/>
              <a:gd name="connsiteX57" fmla="*/ 381000 w 751703"/>
              <a:gd name="connsiteY57" fmla="*/ 510746 h 731108"/>
              <a:gd name="connsiteX58" fmla="*/ 333632 w 751703"/>
              <a:gd name="connsiteY58" fmla="*/ 564292 h 731108"/>
              <a:gd name="connsiteX59" fmla="*/ 358346 w 751703"/>
              <a:gd name="connsiteY59" fmla="*/ 605481 h 731108"/>
              <a:gd name="connsiteX60" fmla="*/ 430427 w 751703"/>
              <a:gd name="connsiteY60" fmla="*/ 591065 h 731108"/>
              <a:gd name="connsiteX61" fmla="*/ 438665 w 751703"/>
              <a:gd name="connsiteY61" fmla="*/ 597243 h 731108"/>
              <a:gd name="connsiteX62" fmla="*/ 459259 w 751703"/>
              <a:gd name="connsiteY62" fmla="*/ 609600 h 731108"/>
              <a:gd name="connsiteX63" fmla="*/ 467497 w 751703"/>
              <a:gd name="connsiteY63" fmla="*/ 613719 h 731108"/>
              <a:gd name="connsiteX64" fmla="*/ 488092 w 751703"/>
              <a:gd name="connsiteY64" fmla="*/ 683740 h 731108"/>
              <a:gd name="connsiteX65" fmla="*/ 535459 w 751703"/>
              <a:gd name="connsiteY65" fmla="*/ 683740 h 731108"/>
              <a:gd name="connsiteX66" fmla="*/ 558113 w 751703"/>
              <a:gd name="connsiteY66" fmla="*/ 613719 h 731108"/>
              <a:gd name="connsiteX67" fmla="*/ 566351 w 751703"/>
              <a:gd name="connsiteY67" fmla="*/ 609600 h 731108"/>
              <a:gd name="connsiteX68" fmla="*/ 586946 w 751703"/>
              <a:gd name="connsiteY68" fmla="*/ 597243 h 731108"/>
              <a:gd name="connsiteX69" fmla="*/ 595184 w 751703"/>
              <a:gd name="connsiteY69" fmla="*/ 591065 h 731108"/>
              <a:gd name="connsiteX70" fmla="*/ 667265 w 751703"/>
              <a:gd name="connsiteY70" fmla="*/ 605481 h 731108"/>
              <a:gd name="connsiteX71" fmla="*/ 691978 w 751703"/>
              <a:gd name="connsiteY71" fmla="*/ 564292 h 731108"/>
              <a:gd name="connsiteX72" fmla="*/ 642551 w 751703"/>
              <a:gd name="connsiteY72" fmla="*/ 508686 h 731108"/>
              <a:gd name="connsiteX73" fmla="*/ 644611 w 751703"/>
              <a:gd name="connsiteY73" fmla="*/ 496329 h 731108"/>
              <a:gd name="connsiteX74" fmla="*/ 644611 w 751703"/>
              <a:gd name="connsiteY74" fmla="*/ 486032 h 731108"/>
              <a:gd name="connsiteX75" fmla="*/ 644611 w 751703"/>
              <a:gd name="connsiteY75" fmla="*/ 483973 h 731108"/>
              <a:gd name="connsiteX76" fmla="*/ 644611 w 751703"/>
              <a:gd name="connsiteY76" fmla="*/ 471616 h 731108"/>
              <a:gd name="connsiteX77" fmla="*/ 644611 w 751703"/>
              <a:gd name="connsiteY77" fmla="*/ 461319 h 731108"/>
              <a:gd name="connsiteX78" fmla="*/ 691978 w 751703"/>
              <a:gd name="connsiteY78" fmla="*/ 407773 h 731108"/>
              <a:gd name="connsiteX79" fmla="*/ 667265 w 751703"/>
              <a:gd name="connsiteY79" fmla="*/ 366583 h 731108"/>
              <a:gd name="connsiteX80" fmla="*/ 597243 w 751703"/>
              <a:gd name="connsiteY80" fmla="*/ 383059 h 731108"/>
              <a:gd name="connsiteX81" fmla="*/ 589005 w 751703"/>
              <a:gd name="connsiteY81" fmla="*/ 376881 h 731108"/>
              <a:gd name="connsiteX82" fmla="*/ 568411 w 751703"/>
              <a:gd name="connsiteY82" fmla="*/ 364524 h 731108"/>
              <a:gd name="connsiteX83" fmla="*/ 560173 w 751703"/>
              <a:gd name="connsiteY83" fmla="*/ 360405 h 731108"/>
              <a:gd name="connsiteX84" fmla="*/ 537519 w 751703"/>
              <a:gd name="connsiteY84" fmla="*/ 290383 h 731108"/>
              <a:gd name="connsiteX85" fmla="*/ 96795 w 751703"/>
              <a:gd name="connsiteY85" fmla="*/ 271848 h 731108"/>
              <a:gd name="connsiteX86" fmla="*/ 168876 w 751703"/>
              <a:gd name="connsiteY86" fmla="*/ 271848 h 731108"/>
              <a:gd name="connsiteX87" fmla="*/ 183292 w 751703"/>
              <a:gd name="connsiteY87" fmla="*/ 317156 h 731108"/>
              <a:gd name="connsiteX88" fmla="*/ 226541 w 751703"/>
              <a:gd name="connsiteY88" fmla="*/ 306859 h 731108"/>
              <a:gd name="connsiteX89" fmla="*/ 263611 w 751703"/>
              <a:gd name="connsiteY89" fmla="*/ 368643 h 731108"/>
              <a:gd name="connsiteX90" fmla="*/ 232719 w 751703"/>
              <a:gd name="connsiteY90" fmla="*/ 403653 h 731108"/>
              <a:gd name="connsiteX91" fmla="*/ 263611 w 751703"/>
              <a:gd name="connsiteY91" fmla="*/ 438664 h 731108"/>
              <a:gd name="connsiteX92" fmla="*/ 228600 w 751703"/>
              <a:gd name="connsiteY92" fmla="*/ 500448 h 731108"/>
              <a:gd name="connsiteX93" fmla="*/ 183292 w 751703"/>
              <a:gd name="connsiteY93" fmla="*/ 492210 h 731108"/>
              <a:gd name="connsiteX94" fmla="*/ 166816 w 751703"/>
              <a:gd name="connsiteY94" fmla="*/ 533399 h 731108"/>
              <a:gd name="connsiteX95" fmla="*/ 96795 w 751703"/>
              <a:gd name="connsiteY95" fmla="*/ 533399 h 731108"/>
              <a:gd name="connsiteX96" fmla="*/ 82378 w 751703"/>
              <a:gd name="connsiteY96" fmla="*/ 490151 h 731108"/>
              <a:gd name="connsiteX97" fmla="*/ 37070 w 751703"/>
              <a:gd name="connsiteY97" fmla="*/ 498389 h 731108"/>
              <a:gd name="connsiteX98" fmla="*/ 0 w 751703"/>
              <a:gd name="connsiteY98" fmla="*/ 436605 h 731108"/>
              <a:gd name="connsiteX99" fmla="*/ 30892 w 751703"/>
              <a:gd name="connsiteY99" fmla="*/ 403653 h 731108"/>
              <a:gd name="connsiteX100" fmla="*/ 0 w 751703"/>
              <a:gd name="connsiteY100" fmla="*/ 368643 h 731108"/>
              <a:gd name="connsiteX101" fmla="*/ 35011 w 751703"/>
              <a:gd name="connsiteY101" fmla="*/ 306859 h 731108"/>
              <a:gd name="connsiteX102" fmla="*/ 82378 w 751703"/>
              <a:gd name="connsiteY102" fmla="*/ 315097 h 731108"/>
              <a:gd name="connsiteX103" fmla="*/ 455140 w 751703"/>
              <a:gd name="connsiteY103" fmla="*/ 238897 h 731108"/>
              <a:gd name="connsiteX104" fmla="*/ 572530 w 751703"/>
              <a:gd name="connsiteY104" fmla="*/ 238897 h 731108"/>
              <a:gd name="connsiteX105" fmla="*/ 599303 w 751703"/>
              <a:gd name="connsiteY105" fmla="*/ 321275 h 731108"/>
              <a:gd name="connsiteX106" fmla="*/ 607540 w 751703"/>
              <a:gd name="connsiteY106" fmla="*/ 327454 h 731108"/>
              <a:gd name="connsiteX107" fmla="*/ 691978 w 751703"/>
              <a:gd name="connsiteY107" fmla="*/ 310978 h 731108"/>
              <a:gd name="connsiteX108" fmla="*/ 751703 w 751703"/>
              <a:gd name="connsiteY108" fmla="*/ 411892 h 731108"/>
              <a:gd name="connsiteX109" fmla="*/ 694038 w 751703"/>
              <a:gd name="connsiteY109" fmla="*/ 477794 h 731108"/>
              <a:gd name="connsiteX110" fmla="*/ 694038 w 751703"/>
              <a:gd name="connsiteY110" fmla="*/ 483973 h 731108"/>
              <a:gd name="connsiteX111" fmla="*/ 694038 w 751703"/>
              <a:gd name="connsiteY111" fmla="*/ 490151 h 731108"/>
              <a:gd name="connsiteX112" fmla="*/ 751703 w 751703"/>
              <a:gd name="connsiteY112" fmla="*/ 553994 h 731108"/>
              <a:gd name="connsiteX113" fmla="*/ 694038 w 751703"/>
              <a:gd name="connsiteY113" fmla="*/ 654908 h 731108"/>
              <a:gd name="connsiteX114" fmla="*/ 607540 w 751703"/>
              <a:gd name="connsiteY114" fmla="*/ 638432 h 731108"/>
              <a:gd name="connsiteX115" fmla="*/ 599303 w 751703"/>
              <a:gd name="connsiteY115" fmla="*/ 644611 h 731108"/>
              <a:gd name="connsiteX116" fmla="*/ 570470 w 751703"/>
              <a:gd name="connsiteY116" fmla="*/ 731108 h 731108"/>
              <a:gd name="connsiteX117" fmla="*/ 453081 w 751703"/>
              <a:gd name="connsiteY117" fmla="*/ 731108 h 731108"/>
              <a:gd name="connsiteX118" fmla="*/ 426308 w 751703"/>
              <a:gd name="connsiteY118" fmla="*/ 646670 h 731108"/>
              <a:gd name="connsiteX119" fmla="*/ 418070 w 751703"/>
              <a:gd name="connsiteY119" fmla="*/ 640492 h 731108"/>
              <a:gd name="connsiteX120" fmla="*/ 331573 w 751703"/>
              <a:gd name="connsiteY120" fmla="*/ 656967 h 731108"/>
              <a:gd name="connsiteX121" fmla="*/ 273908 w 751703"/>
              <a:gd name="connsiteY121" fmla="*/ 556054 h 731108"/>
              <a:gd name="connsiteX122" fmla="*/ 333632 w 751703"/>
              <a:gd name="connsiteY122" fmla="*/ 490151 h 731108"/>
              <a:gd name="connsiteX123" fmla="*/ 333632 w 751703"/>
              <a:gd name="connsiteY123" fmla="*/ 483973 h 731108"/>
              <a:gd name="connsiteX124" fmla="*/ 333632 w 751703"/>
              <a:gd name="connsiteY124" fmla="*/ 477794 h 731108"/>
              <a:gd name="connsiteX125" fmla="*/ 275967 w 751703"/>
              <a:gd name="connsiteY125" fmla="*/ 411892 h 731108"/>
              <a:gd name="connsiteX126" fmla="*/ 333632 w 751703"/>
              <a:gd name="connsiteY126" fmla="*/ 310978 h 731108"/>
              <a:gd name="connsiteX127" fmla="*/ 420130 w 751703"/>
              <a:gd name="connsiteY127" fmla="*/ 327454 h 731108"/>
              <a:gd name="connsiteX128" fmla="*/ 428367 w 751703"/>
              <a:gd name="connsiteY128" fmla="*/ 321275 h 731108"/>
              <a:gd name="connsiteX129" fmla="*/ 319216 w 751703"/>
              <a:gd name="connsiteY129" fmla="*/ 121508 h 731108"/>
              <a:gd name="connsiteX130" fmla="*/ 339811 w 751703"/>
              <a:gd name="connsiteY130" fmla="*/ 131805 h 731108"/>
              <a:gd name="connsiteX131" fmla="*/ 329513 w 751703"/>
              <a:gd name="connsiteY131" fmla="*/ 166816 h 731108"/>
              <a:gd name="connsiteX132" fmla="*/ 317157 w 751703"/>
              <a:gd name="connsiteY132" fmla="*/ 170935 h 731108"/>
              <a:gd name="connsiteX133" fmla="*/ 294503 w 751703"/>
              <a:gd name="connsiteY133" fmla="*/ 158578 h 731108"/>
              <a:gd name="connsiteX134" fmla="*/ 304800 w 751703"/>
              <a:gd name="connsiteY134" fmla="*/ 123567 h 731108"/>
              <a:gd name="connsiteX135" fmla="*/ 319216 w 751703"/>
              <a:gd name="connsiteY135" fmla="*/ 121508 h 731108"/>
              <a:gd name="connsiteX136" fmla="*/ 273908 w 751703"/>
              <a:gd name="connsiteY136" fmla="*/ 57665 h 731108"/>
              <a:gd name="connsiteX137" fmla="*/ 263611 w 751703"/>
              <a:gd name="connsiteY137" fmla="*/ 63843 h 731108"/>
              <a:gd name="connsiteX138" fmla="*/ 271849 w 751703"/>
              <a:gd name="connsiteY138" fmla="*/ 100914 h 731108"/>
              <a:gd name="connsiteX139" fmla="*/ 265670 w 751703"/>
              <a:gd name="connsiteY139" fmla="*/ 109151 h 731108"/>
              <a:gd name="connsiteX140" fmla="*/ 259492 w 751703"/>
              <a:gd name="connsiteY140" fmla="*/ 119449 h 731108"/>
              <a:gd name="connsiteX141" fmla="*/ 255373 w 751703"/>
              <a:gd name="connsiteY141" fmla="*/ 129746 h 731108"/>
              <a:gd name="connsiteX142" fmla="*/ 220362 w 751703"/>
              <a:gd name="connsiteY142" fmla="*/ 142103 h 731108"/>
              <a:gd name="connsiteX143" fmla="*/ 220362 w 751703"/>
              <a:gd name="connsiteY143" fmla="*/ 154459 h 731108"/>
              <a:gd name="connsiteX144" fmla="*/ 255373 w 751703"/>
              <a:gd name="connsiteY144" fmla="*/ 166816 h 731108"/>
              <a:gd name="connsiteX145" fmla="*/ 265670 w 751703"/>
              <a:gd name="connsiteY145" fmla="*/ 187411 h 731108"/>
              <a:gd name="connsiteX146" fmla="*/ 271849 w 751703"/>
              <a:gd name="connsiteY146" fmla="*/ 195649 h 731108"/>
              <a:gd name="connsiteX147" fmla="*/ 263611 w 751703"/>
              <a:gd name="connsiteY147" fmla="*/ 232719 h 731108"/>
              <a:gd name="connsiteX148" fmla="*/ 273908 w 751703"/>
              <a:gd name="connsiteY148" fmla="*/ 238897 h 731108"/>
              <a:gd name="connsiteX149" fmla="*/ 302740 w 751703"/>
              <a:gd name="connsiteY149" fmla="*/ 214184 h 731108"/>
              <a:gd name="connsiteX150" fmla="*/ 313038 w 751703"/>
              <a:gd name="connsiteY150" fmla="*/ 214184 h 731108"/>
              <a:gd name="connsiteX151" fmla="*/ 323335 w 751703"/>
              <a:gd name="connsiteY151" fmla="*/ 214184 h 731108"/>
              <a:gd name="connsiteX152" fmla="*/ 333632 w 751703"/>
              <a:gd name="connsiteY152" fmla="*/ 212124 h 731108"/>
              <a:gd name="connsiteX153" fmla="*/ 362465 w 751703"/>
              <a:gd name="connsiteY153" fmla="*/ 236838 h 731108"/>
              <a:gd name="connsiteX154" fmla="*/ 372762 w 751703"/>
              <a:gd name="connsiteY154" fmla="*/ 230659 h 731108"/>
              <a:gd name="connsiteX155" fmla="*/ 364524 w 751703"/>
              <a:gd name="connsiteY155" fmla="*/ 193589 h 731108"/>
              <a:gd name="connsiteX156" fmla="*/ 370703 w 751703"/>
              <a:gd name="connsiteY156" fmla="*/ 185351 h 731108"/>
              <a:gd name="connsiteX157" fmla="*/ 376881 w 751703"/>
              <a:gd name="connsiteY157" fmla="*/ 175054 h 731108"/>
              <a:gd name="connsiteX158" fmla="*/ 381000 w 751703"/>
              <a:gd name="connsiteY158" fmla="*/ 164757 h 731108"/>
              <a:gd name="connsiteX159" fmla="*/ 418070 w 751703"/>
              <a:gd name="connsiteY159" fmla="*/ 152400 h 731108"/>
              <a:gd name="connsiteX160" fmla="*/ 418070 w 751703"/>
              <a:gd name="connsiteY160" fmla="*/ 140043 h 731108"/>
              <a:gd name="connsiteX161" fmla="*/ 387178 w 751703"/>
              <a:gd name="connsiteY161" fmla="*/ 129746 h 731108"/>
              <a:gd name="connsiteX162" fmla="*/ 383059 w 751703"/>
              <a:gd name="connsiteY162" fmla="*/ 125627 h 731108"/>
              <a:gd name="connsiteX163" fmla="*/ 374822 w 751703"/>
              <a:gd name="connsiteY163" fmla="*/ 115330 h 731108"/>
              <a:gd name="connsiteX164" fmla="*/ 364524 w 751703"/>
              <a:gd name="connsiteY164" fmla="*/ 100914 h 731108"/>
              <a:gd name="connsiteX165" fmla="*/ 372762 w 751703"/>
              <a:gd name="connsiteY165" fmla="*/ 63843 h 731108"/>
              <a:gd name="connsiteX166" fmla="*/ 362465 w 751703"/>
              <a:gd name="connsiteY166" fmla="*/ 57665 h 731108"/>
              <a:gd name="connsiteX167" fmla="*/ 333632 w 751703"/>
              <a:gd name="connsiteY167" fmla="*/ 82378 h 731108"/>
              <a:gd name="connsiteX168" fmla="*/ 323335 w 751703"/>
              <a:gd name="connsiteY168" fmla="*/ 82378 h 731108"/>
              <a:gd name="connsiteX169" fmla="*/ 313038 w 751703"/>
              <a:gd name="connsiteY169" fmla="*/ 82378 h 731108"/>
              <a:gd name="connsiteX170" fmla="*/ 302740 w 751703"/>
              <a:gd name="connsiteY170" fmla="*/ 82378 h 731108"/>
              <a:gd name="connsiteX171" fmla="*/ 278027 w 751703"/>
              <a:gd name="connsiteY171" fmla="*/ 0 h 731108"/>
              <a:gd name="connsiteX172" fmla="*/ 317157 w 751703"/>
              <a:gd name="connsiteY172" fmla="*/ 35011 h 731108"/>
              <a:gd name="connsiteX173" fmla="*/ 356286 w 751703"/>
              <a:gd name="connsiteY173" fmla="*/ 0 h 731108"/>
              <a:gd name="connsiteX174" fmla="*/ 426308 w 751703"/>
              <a:gd name="connsiteY174" fmla="*/ 41189 h 731108"/>
              <a:gd name="connsiteX175" fmla="*/ 416011 w 751703"/>
              <a:gd name="connsiteY175" fmla="*/ 90616 h 731108"/>
              <a:gd name="connsiteX176" fmla="*/ 465438 w 751703"/>
              <a:gd name="connsiteY176" fmla="*/ 105032 h 731108"/>
              <a:gd name="connsiteX177" fmla="*/ 465438 w 751703"/>
              <a:gd name="connsiteY177" fmla="*/ 187411 h 731108"/>
              <a:gd name="connsiteX178" fmla="*/ 416011 w 751703"/>
              <a:gd name="connsiteY178" fmla="*/ 203886 h 731108"/>
              <a:gd name="connsiteX179" fmla="*/ 426308 w 751703"/>
              <a:gd name="connsiteY179" fmla="*/ 255373 h 731108"/>
              <a:gd name="connsiteX180" fmla="*/ 356286 w 751703"/>
              <a:gd name="connsiteY180" fmla="*/ 296562 h 731108"/>
              <a:gd name="connsiteX181" fmla="*/ 317157 w 751703"/>
              <a:gd name="connsiteY181" fmla="*/ 261551 h 731108"/>
              <a:gd name="connsiteX182" fmla="*/ 278027 w 751703"/>
              <a:gd name="connsiteY182" fmla="*/ 296562 h 731108"/>
              <a:gd name="connsiteX183" fmla="*/ 210065 w 751703"/>
              <a:gd name="connsiteY183" fmla="*/ 255373 h 731108"/>
              <a:gd name="connsiteX184" fmla="*/ 220362 w 751703"/>
              <a:gd name="connsiteY184" fmla="*/ 205946 h 731108"/>
              <a:gd name="connsiteX185" fmla="*/ 170935 w 751703"/>
              <a:gd name="connsiteY185" fmla="*/ 189470 h 731108"/>
              <a:gd name="connsiteX186" fmla="*/ 170935 w 751703"/>
              <a:gd name="connsiteY186" fmla="*/ 107092 h 731108"/>
              <a:gd name="connsiteX187" fmla="*/ 220362 w 751703"/>
              <a:gd name="connsiteY187" fmla="*/ 90616 h 731108"/>
              <a:gd name="connsiteX188" fmla="*/ 210065 w 751703"/>
              <a:gd name="connsiteY188" fmla="*/ 41189 h 731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751703" h="731108">
                <a:moveTo>
                  <a:pt x="512805" y="463378"/>
                </a:moveTo>
                <a:cubicBezTo>
                  <a:pt x="500448" y="463378"/>
                  <a:pt x="490151" y="473675"/>
                  <a:pt x="490151" y="486032"/>
                </a:cubicBezTo>
                <a:cubicBezTo>
                  <a:pt x="490151" y="498389"/>
                  <a:pt x="500448" y="508686"/>
                  <a:pt x="512805" y="508686"/>
                </a:cubicBezTo>
                <a:cubicBezTo>
                  <a:pt x="525161" y="508686"/>
                  <a:pt x="535459" y="498389"/>
                  <a:pt x="535459" y="486032"/>
                </a:cubicBezTo>
                <a:cubicBezTo>
                  <a:pt x="535459" y="473675"/>
                  <a:pt x="525161" y="463378"/>
                  <a:pt x="512805" y="463378"/>
                </a:cubicBezTo>
                <a:close/>
                <a:moveTo>
                  <a:pt x="512805" y="418070"/>
                </a:moveTo>
                <a:cubicBezTo>
                  <a:pt x="551934" y="418070"/>
                  <a:pt x="582826" y="448962"/>
                  <a:pt x="582826" y="488092"/>
                </a:cubicBezTo>
                <a:cubicBezTo>
                  <a:pt x="582826" y="527221"/>
                  <a:pt x="549875" y="558113"/>
                  <a:pt x="512805" y="558113"/>
                </a:cubicBezTo>
                <a:cubicBezTo>
                  <a:pt x="473675" y="558113"/>
                  <a:pt x="442783" y="527221"/>
                  <a:pt x="442783" y="488092"/>
                </a:cubicBezTo>
                <a:cubicBezTo>
                  <a:pt x="442783" y="448962"/>
                  <a:pt x="473675" y="418070"/>
                  <a:pt x="512805" y="418070"/>
                </a:cubicBezTo>
                <a:close/>
                <a:moveTo>
                  <a:pt x="131805" y="378940"/>
                </a:moveTo>
                <a:cubicBezTo>
                  <a:pt x="144162" y="378940"/>
                  <a:pt x="154459" y="389237"/>
                  <a:pt x="154459" y="401594"/>
                </a:cubicBezTo>
                <a:cubicBezTo>
                  <a:pt x="154459" y="413951"/>
                  <a:pt x="144162" y="424248"/>
                  <a:pt x="131805" y="424248"/>
                </a:cubicBezTo>
                <a:cubicBezTo>
                  <a:pt x="119448" y="424248"/>
                  <a:pt x="109151" y="413951"/>
                  <a:pt x="109151" y="401594"/>
                </a:cubicBezTo>
                <a:cubicBezTo>
                  <a:pt x="109151" y="389237"/>
                  <a:pt x="119448" y="378940"/>
                  <a:pt x="131805" y="378940"/>
                </a:cubicBezTo>
                <a:close/>
                <a:moveTo>
                  <a:pt x="125627" y="315097"/>
                </a:moveTo>
                <a:lnTo>
                  <a:pt x="115330" y="348048"/>
                </a:lnTo>
                <a:lnTo>
                  <a:pt x="107092" y="352167"/>
                </a:lnTo>
                <a:cubicBezTo>
                  <a:pt x="105032" y="354226"/>
                  <a:pt x="100914" y="354226"/>
                  <a:pt x="98854" y="356286"/>
                </a:cubicBezTo>
                <a:lnTo>
                  <a:pt x="90616" y="362464"/>
                </a:lnTo>
                <a:lnTo>
                  <a:pt x="57665" y="356286"/>
                </a:lnTo>
                <a:lnTo>
                  <a:pt x="51486" y="366583"/>
                </a:lnTo>
                <a:lnTo>
                  <a:pt x="74141" y="389237"/>
                </a:lnTo>
                <a:lnTo>
                  <a:pt x="74141" y="420129"/>
                </a:lnTo>
                <a:lnTo>
                  <a:pt x="51486" y="444843"/>
                </a:lnTo>
                <a:lnTo>
                  <a:pt x="57665" y="451021"/>
                </a:lnTo>
                <a:lnTo>
                  <a:pt x="90616" y="444843"/>
                </a:lnTo>
                <a:lnTo>
                  <a:pt x="98854" y="451021"/>
                </a:lnTo>
                <a:cubicBezTo>
                  <a:pt x="102973" y="453080"/>
                  <a:pt x="105032" y="455140"/>
                  <a:pt x="109151" y="457199"/>
                </a:cubicBezTo>
                <a:lnTo>
                  <a:pt x="117389" y="461318"/>
                </a:lnTo>
                <a:lnTo>
                  <a:pt x="125627" y="492210"/>
                </a:lnTo>
                <a:lnTo>
                  <a:pt x="135924" y="492210"/>
                </a:lnTo>
                <a:lnTo>
                  <a:pt x="146222" y="459259"/>
                </a:lnTo>
                <a:lnTo>
                  <a:pt x="154459" y="455140"/>
                </a:lnTo>
                <a:cubicBezTo>
                  <a:pt x="158578" y="455140"/>
                  <a:pt x="162697" y="453080"/>
                  <a:pt x="164757" y="451021"/>
                </a:cubicBezTo>
                <a:lnTo>
                  <a:pt x="172995" y="446902"/>
                </a:lnTo>
                <a:lnTo>
                  <a:pt x="205946" y="451021"/>
                </a:lnTo>
                <a:lnTo>
                  <a:pt x="212124" y="440724"/>
                </a:lnTo>
                <a:lnTo>
                  <a:pt x="191530" y="416010"/>
                </a:lnTo>
                <a:lnTo>
                  <a:pt x="191530" y="385118"/>
                </a:lnTo>
                <a:lnTo>
                  <a:pt x="214184" y="360405"/>
                </a:lnTo>
                <a:lnTo>
                  <a:pt x="205946" y="354226"/>
                </a:lnTo>
                <a:lnTo>
                  <a:pt x="170935" y="360405"/>
                </a:lnTo>
                <a:lnTo>
                  <a:pt x="164757" y="356286"/>
                </a:lnTo>
                <a:cubicBezTo>
                  <a:pt x="162697" y="354226"/>
                  <a:pt x="160638" y="352167"/>
                  <a:pt x="156519" y="352167"/>
                </a:cubicBezTo>
                <a:lnTo>
                  <a:pt x="148281" y="348048"/>
                </a:lnTo>
                <a:lnTo>
                  <a:pt x="137984" y="315097"/>
                </a:lnTo>
                <a:close/>
                <a:moveTo>
                  <a:pt x="488092" y="290383"/>
                </a:moveTo>
                <a:lnTo>
                  <a:pt x="465438" y="360405"/>
                </a:lnTo>
                <a:lnTo>
                  <a:pt x="457200" y="364524"/>
                </a:lnTo>
                <a:cubicBezTo>
                  <a:pt x="451022" y="368643"/>
                  <a:pt x="442784" y="372762"/>
                  <a:pt x="436605" y="376881"/>
                </a:cubicBezTo>
                <a:lnTo>
                  <a:pt x="428367" y="383059"/>
                </a:lnTo>
                <a:lnTo>
                  <a:pt x="356286" y="368643"/>
                </a:lnTo>
                <a:lnTo>
                  <a:pt x="331573" y="409832"/>
                </a:lnTo>
                <a:lnTo>
                  <a:pt x="381000" y="463378"/>
                </a:lnTo>
                <a:lnTo>
                  <a:pt x="381000" y="473675"/>
                </a:lnTo>
                <a:cubicBezTo>
                  <a:pt x="381000" y="477794"/>
                  <a:pt x="381000" y="481913"/>
                  <a:pt x="381000" y="486032"/>
                </a:cubicBezTo>
                <a:lnTo>
                  <a:pt x="381000" y="510746"/>
                </a:lnTo>
                <a:lnTo>
                  <a:pt x="333632" y="564292"/>
                </a:lnTo>
                <a:lnTo>
                  <a:pt x="358346" y="605481"/>
                </a:lnTo>
                <a:lnTo>
                  <a:pt x="430427" y="591065"/>
                </a:lnTo>
                <a:lnTo>
                  <a:pt x="438665" y="597243"/>
                </a:lnTo>
                <a:cubicBezTo>
                  <a:pt x="444843" y="601362"/>
                  <a:pt x="451022" y="605481"/>
                  <a:pt x="459259" y="609600"/>
                </a:cubicBezTo>
                <a:lnTo>
                  <a:pt x="467497" y="613719"/>
                </a:lnTo>
                <a:lnTo>
                  <a:pt x="488092" y="683740"/>
                </a:lnTo>
                <a:lnTo>
                  <a:pt x="535459" y="683740"/>
                </a:lnTo>
                <a:lnTo>
                  <a:pt x="558113" y="613719"/>
                </a:lnTo>
                <a:lnTo>
                  <a:pt x="566351" y="609600"/>
                </a:lnTo>
                <a:cubicBezTo>
                  <a:pt x="572530" y="605481"/>
                  <a:pt x="580767" y="601362"/>
                  <a:pt x="586946" y="597243"/>
                </a:cubicBezTo>
                <a:lnTo>
                  <a:pt x="595184" y="591065"/>
                </a:lnTo>
                <a:lnTo>
                  <a:pt x="667265" y="605481"/>
                </a:lnTo>
                <a:lnTo>
                  <a:pt x="691978" y="564292"/>
                </a:lnTo>
                <a:lnTo>
                  <a:pt x="642551" y="508686"/>
                </a:lnTo>
                <a:lnTo>
                  <a:pt x="644611" y="496329"/>
                </a:lnTo>
                <a:cubicBezTo>
                  <a:pt x="644611" y="492211"/>
                  <a:pt x="644611" y="490151"/>
                  <a:pt x="644611" y="486032"/>
                </a:cubicBezTo>
                <a:lnTo>
                  <a:pt x="644611" y="483973"/>
                </a:lnTo>
                <a:cubicBezTo>
                  <a:pt x="644611" y="479854"/>
                  <a:pt x="644611" y="475735"/>
                  <a:pt x="644611" y="471616"/>
                </a:cubicBezTo>
                <a:lnTo>
                  <a:pt x="644611" y="461319"/>
                </a:lnTo>
                <a:lnTo>
                  <a:pt x="691978" y="407773"/>
                </a:lnTo>
                <a:lnTo>
                  <a:pt x="667265" y="366583"/>
                </a:lnTo>
                <a:lnTo>
                  <a:pt x="597243" y="383059"/>
                </a:lnTo>
                <a:lnTo>
                  <a:pt x="589005" y="376881"/>
                </a:lnTo>
                <a:cubicBezTo>
                  <a:pt x="582827" y="372762"/>
                  <a:pt x="576649" y="368643"/>
                  <a:pt x="568411" y="364524"/>
                </a:cubicBezTo>
                <a:lnTo>
                  <a:pt x="560173" y="360405"/>
                </a:lnTo>
                <a:lnTo>
                  <a:pt x="537519" y="290383"/>
                </a:lnTo>
                <a:close/>
                <a:moveTo>
                  <a:pt x="96795" y="271848"/>
                </a:moveTo>
                <a:lnTo>
                  <a:pt x="168876" y="271848"/>
                </a:lnTo>
                <a:lnTo>
                  <a:pt x="183292" y="317156"/>
                </a:lnTo>
                <a:lnTo>
                  <a:pt x="226541" y="306859"/>
                </a:lnTo>
                <a:lnTo>
                  <a:pt x="263611" y="368643"/>
                </a:lnTo>
                <a:lnTo>
                  <a:pt x="232719" y="403653"/>
                </a:lnTo>
                <a:lnTo>
                  <a:pt x="263611" y="438664"/>
                </a:lnTo>
                <a:lnTo>
                  <a:pt x="228600" y="500448"/>
                </a:lnTo>
                <a:lnTo>
                  <a:pt x="183292" y="492210"/>
                </a:lnTo>
                <a:lnTo>
                  <a:pt x="166816" y="533399"/>
                </a:lnTo>
                <a:lnTo>
                  <a:pt x="96795" y="533399"/>
                </a:lnTo>
                <a:lnTo>
                  <a:pt x="82378" y="490151"/>
                </a:lnTo>
                <a:lnTo>
                  <a:pt x="37070" y="498389"/>
                </a:lnTo>
                <a:lnTo>
                  <a:pt x="0" y="436605"/>
                </a:lnTo>
                <a:lnTo>
                  <a:pt x="30892" y="403653"/>
                </a:lnTo>
                <a:lnTo>
                  <a:pt x="0" y="368643"/>
                </a:lnTo>
                <a:lnTo>
                  <a:pt x="35011" y="306859"/>
                </a:lnTo>
                <a:lnTo>
                  <a:pt x="82378" y="315097"/>
                </a:lnTo>
                <a:close/>
                <a:moveTo>
                  <a:pt x="455140" y="238897"/>
                </a:moveTo>
                <a:lnTo>
                  <a:pt x="572530" y="238897"/>
                </a:lnTo>
                <a:lnTo>
                  <a:pt x="599303" y="321275"/>
                </a:lnTo>
                <a:cubicBezTo>
                  <a:pt x="603422" y="323335"/>
                  <a:pt x="605481" y="325394"/>
                  <a:pt x="607540" y="327454"/>
                </a:cubicBezTo>
                <a:lnTo>
                  <a:pt x="691978" y="310978"/>
                </a:lnTo>
                <a:lnTo>
                  <a:pt x="751703" y="411892"/>
                </a:lnTo>
                <a:lnTo>
                  <a:pt x="694038" y="477794"/>
                </a:lnTo>
                <a:cubicBezTo>
                  <a:pt x="694038" y="479854"/>
                  <a:pt x="694038" y="481913"/>
                  <a:pt x="694038" y="483973"/>
                </a:cubicBezTo>
                <a:cubicBezTo>
                  <a:pt x="694038" y="486032"/>
                  <a:pt x="694038" y="488092"/>
                  <a:pt x="694038" y="490151"/>
                </a:cubicBezTo>
                <a:lnTo>
                  <a:pt x="751703" y="553994"/>
                </a:lnTo>
                <a:lnTo>
                  <a:pt x="694038" y="654908"/>
                </a:lnTo>
                <a:lnTo>
                  <a:pt x="607540" y="638432"/>
                </a:lnTo>
                <a:cubicBezTo>
                  <a:pt x="605481" y="640492"/>
                  <a:pt x="601362" y="642551"/>
                  <a:pt x="599303" y="644611"/>
                </a:cubicBezTo>
                <a:lnTo>
                  <a:pt x="570470" y="731108"/>
                </a:lnTo>
                <a:lnTo>
                  <a:pt x="453081" y="731108"/>
                </a:lnTo>
                <a:lnTo>
                  <a:pt x="426308" y="646670"/>
                </a:lnTo>
                <a:cubicBezTo>
                  <a:pt x="424249" y="644611"/>
                  <a:pt x="420130" y="642551"/>
                  <a:pt x="418070" y="640492"/>
                </a:cubicBezTo>
                <a:lnTo>
                  <a:pt x="331573" y="656967"/>
                </a:lnTo>
                <a:lnTo>
                  <a:pt x="273908" y="556054"/>
                </a:lnTo>
                <a:lnTo>
                  <a:pt x="333632" y="490151"/>
                </a:lnTo>
                <a:lnTo>
                  <a:pt x="333632" y="483973"/>
                </a:lnTo>
                <a:cubicBezTo>
                  <a:pt x="333632" y="481913"/>
                  <a:pt x="333632" y="479854"/>
                  <a:pt x="333632" y="477794"/>
                </a:cubicBezTo>
                <a:lnTo>
                  <a:pt x="275967" y="411892"/>
                </a:lnTo>
                <a:lnTo>
                  <a:pt x="333632" y="310978"/>
                </a:lnTo>
                <a:lnTo>
                  <a:pt x="420130" y="327454"/>
                </a:lnTo>
                <a:cubicBezTo>
                  <a:pt x="422189" y="325394"/>
                  <a:pt x="426308" y="323335"/>
                  <a:pt x="428367" y="321275"/>
                </a:cubicBezTo>
                <a:close/>
                <a:moveTo>
                  <a:pt x="319216" y="121508"/>
                </a:moveTo>
                <a:cubicBezTo>
                  <a:pt x="327454" y="121508"/>
                  <a:pt x="335692" y="125627"/>
                  <a:pt x="339811" y="131805"/>
                </a:cubicBezTo>
                <a:cubicBezTo>
                  <a:pt x="345989" y="144162"/>
                  <a:pt x="341870" y="158578"/>
                  <a:pt x="329513" y="166816"/>
                </a:cubicBezTo>
                <a:cubicBezTo>
                  <a:pt x="325394" y="168876"/>
                  <a:pt x="321276" y="170935"/>
                  <a:pt x="317157" y="170935"/>
                </a:cubicBezTo>
                <a:cubicBezTo>
                  <a:pt x="306859" y="170935"/>
                  <a:pt x="298621" y="166816"/>
                  <a:pt x="294503" y="158578"/>
                </a:cubicBezTo>
                <a:cubicBezTo>
                  <a:pt x="288324" y="146222"/>
                  <a:pt x="292443" y="131805"/>
                  <a:pt x="304800" y="123567"/>
                </a:cubicBezTo>
                <a:cubicBezTo>
                  <a:pt x="308919" y="121508"/>
                  <a:pt x="313038" y="121508"/>
                  <a:pt x="319216" y="121508"/>
                </a:cubicBezTo>
                <a:close/>
                <a:moveTo>
                  <a:pt x="273908" y="57665"/>
                </a:moveTo>
                <a:lnTo>
                  <a:pt x="263611" y="63843"/>
                </a:lnTo>
                <a:lnTo>
                  <a:pt x="271849" y="100914"/>
                </a:lnTo>
                <a:lnTo>
                  <a:pt x="265670" y="109151"/>
                </a:lnTo>
                <a:cubicBezTo>
                  <a:pt x="263611" y="111211"/>
                  <a:pt x="261551" y="115330"/>
                  <a:pt x="259492" y="119449"/>
                </a:cubicBezTo>
                <a:lnTo>
                  <a:pt x="255373" y="129746"/>
                </a:lnTo>
                <a:lnTo>
                  <a:pt x="220362" y="142103"/>
                </a:lnTo>
                <a:lnTo>
                  <a:pt x="220362" y="154459"/>
                </a:lnTo>
                <a:lnTo>
                  <a:pt x="255373" y="166816"/>
                </a:lnTo>
                <a:lnTo>
                  <a:pt x="265670" y="187411"/>
                </a:lnTo>
                <a:lnTo>
                  <a:pt x="271849" y="195649"/>
                </a:lnTo>
                <a:lnTo>
                  <a:pt x="263611" y="232719"/>
                </a:lnTo>
                <a:lnTo>
                  <a:pt x="273908" y="238897"/>
                </a:lnTo>
                <a:lnTo>
                  <a:pt x="302740" y="214184"/>
                </a:lnTo>
                <a:lnTo>
                  <a:pt x="313038" y="214184"/>
                </a:lnTo>
                <a:cubicBezTo>
                  <a:pt x="317157" y="214184"/>
                  <a:pt x="321276" y="214184"/>
                  <a:pt x="323335" y="214184"/>
                </a:cubicBezTo>
                <a:lnTo>
                  <a:pt x="333632" y="212124"/>
                </a:lnTo>
                <a:lnTo>
                  <a:pt x="362465" y="236838"/>
                </a:lnTo>
                <a:lnTo>
                  <a:pt x="372762" y="230659"/>
                </a:lnTo>
                <a:lnTo>
                  <a:pt x="364524" y="193589"/>
                </a:lnTo>
                <a:lnTo>
                  <a:pt x="370703" y="185351"/>
                </a:lnTo>
                <a:cubicBezTo>
                  <a:pt x="372762" y="181232"/>
                  <a:pt x="374822" y="179173"/>
                  <a:pt x="376881" y="175054"/>
                </a:cubicBezTo>
                <a:lnTo>
                  <a:pt x="381000" y="164757"/>
                </a:lnTo>
                <a:lnTo>
                  <a:pt x="418070" y="152400"/>
                </a:lnTo>
                <a:lnTo>
                  <a:pt x="418070" y="140043"/>
                </a:lnTo>
                <a:lnTo>
                  <a:pt x="387178" y="129746"/>
                </a:lnTo>
                <a:lnTo>
                  <a:pt x="383059" y="125627"/>
                </a:lnTo>
                <a:cubicBezTo>
                  <a:pt x="378940" y="121508"/>
                  <a:pt x="376881" y="117389"/>
                  <a:pt x="374822" y="115330"/>
                </a:cubicBezTo>
                <a:lnTo>
                  <a:pt x="364524" y="100914"/>
                </a:lnTo>
                <a:lnTo>
                  <a:pt x="372762" y="63843"/>
                </a:lnTo>
                <a:lnTo>
                  <a:pt x="362465" y="57665"/>
                </a:lnTo>
                <a:lnTo>
                  <a:pt x="333632" y="82378"/>
                </a:lnTo>
                <a:lnTo>
                  <a:pt x="323335" y="82378"/>
                </a:lnTo>
                <a:cubicBezTo>
                  <a:pt x="319216" y="82378"/>
                  <a:pt x="315097" y="82378"/>
                  <a:pt x="313038" y="82378"/>
                </a:cubicBezTo>
                <a:lnTo>
                  <a:pt x="302740" y="82378"/>
                </a:lnTo>
                <a:close/>
                <a:moveTo>
                  <a:pt x="278027" y="0"/>
                </a:moveTo>
                <a:lnTo>
                  <a:pt x="317157" y="35011"/>
                </a:lnTo>
                <a:lnTo>
                  <a:pt x="356286" y="0"/>
                </a:lnTo>
                <a:lnTo>
                  <a:pt x="426308" y="41189"/>
                </a:lnTo>
                <a:lnTo>
                  <a:pt x="416011" y="90616"/>
                </a:lnTo>
                <a:lnTo>
                  <a:pt x="465438" y="105032"/>
                </a:lnTo>
                <a:lnTo>
                  <a:pt x="465438" y="187411"/>
                </a:lnTo>
                <a:lnTo>
                  <a:pt x="416011" y="203886"/>
                </a:lnTo>
                <a:lnTo>
                  <a:pt x="426308" y="255373"/>
                </a:lnTo>
                <a:lnTo>
                  <a:pt x="356286" y="296562"/>
                </a:lnTo>
                <a:lnTo>
                  <a:pt x="317157" y="261551"/>
                </a:lnTo>
                <a:lnTo>
                  <a:pt x="278027" y="296562"/>
                </a:lnTo>
                <a:lnTo>
                  <a:pt x="210065" y="255373"/>
                </a:lnTo>
                <a:lnTo>
                  <a:pt x="220362" y="205946"/>
                </a:lnTo>
                <a:lnTo>
                  <a:pt x="170935" y="189470"/>
                </a:lnTo>
                <a:lnTo>
                  <a:pt x="170935" y="107092"/>
                </a:lnTo>
                <a:lnTo>
                  <a:pt x="220362" y="90616"/>
                </a:lnTo>
                <a:lnTo>
                  <a:pt x="210065" y="41189"/>
                </a:lnTo>
                <a:close/>
              </a:path>
            </a:pathLst>
          </a:custGeom>
          <a:solidFill>
            <a:srgbClr val="7823DC"/>
          </a:solidFill>
          <a:ln w="20595" cap="flat">
            <a:noFill/>
            <a:prstDash val="solid"/>
            <a:miter/>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en-US" sz="600"/>
          </a:p>
        </p:txBody>
      </p:sp>
      <p:sp>
        <p:nvSpPr>
          <p:cNvPr id="120" name="Rectangle 52">
            <a:extLst>
              <a:ext uri="{FF2B5EF4-FFF2-40B4-BE49-F238E27FC236}">
                <a16:creationId xmlns:a16="http://schemas.microsoft.com/office/drawing/2014/main" id="{83D39EBE-C678-2287-4E96-189FDF0A948E}"/>
              </a:ext>
            </a:extLst>
          </p:cNvPr>
          <p:cNvSpPr/>
          <p:nvPr/>
        </p:nvSpPr>
        <p:spPr bwMode="gray">
          <a:xfrm>
            <a:off x="1136151" y="3657580"/>
            <a:ext cx="1863394" cy="1088908"/>
          </a:xfrm>
          <a:prstGeom prst="rect">
            <a:avLst/>
          </a:prstGeom>
          <a:noFill/>
          <a:ln w="1270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ct val="0"/>
              </a:spcAft>
            </a:pPr>
            <a:endParaRPr lang="en-US" sz="1200" b="1">
              <a:solidFill>
                <a:schemeClr val="tx1"/>
              </a:solidFill>
              <a:cs typeface="Arial" pitchFamily="34" charset="0"/>
            </a:endParaRPr>
          </a:p>
        </p:txBody>
      </p:sp>
      <p:sp>
        <p:nvSpPr>
          <p:cNvPr id="127" name="TextBox 126">
            <a:extLst>
              <a:ext uri="{FF2B5EF4-FFF2-40B4-BE49-F238E27FC236}">
                <a16:creationId xmlns:a16="http://schemas.microsoft.com/office/drawing/2014/main" id="{B30CFBBA-175B-9E05-9256-FB7ECCCBDDDD}"/>
              </a:ext>
            </a:extLst>
          </p:cNvPr>
          <p:cNvSpPr txBox="1"/>
          <p:nvPr/>
        </p:nvSpPr>
        <p:spPr>
          <a:xfrm>
            <a:off x="3428999" y="3188025"/>
            <a:ext cx="2943113" cy="110800"/>
          </a:xfrm>
          <a:prstGeom prst="rect">
            <a:avLst/>
          </a:prstGeom>
          <a:noFill/>
        </p:spPr>
        <p:txBody>
          <a:bodyPr wrap="none" lIns="0" tIns="0" rIns="0" bIns="0">
            <a:spAutoFit/>
          </a:bodyPr>
          <a:lstStyle/>
          <a:p>
            <a:pPr>
              <a:lnSpc>
                <a:spcPct val="90000"/>
              </a:lnSpc>
            </a:pPr>
            <a:r>
              <a:rPr kumimoji="1" lang="en-US" altLang="zh-TW" sz="800">
                <a:solidFill>
                  <a:schemeClr val="accent3"/>
                </a:solidFill>
                <a:ea typeface="微軟正黑體"/>
              </a:rPr>
              <a:t>Refer to Appendix</a:t>
            </a:r>
            <a:r>
              <a:rPr lang="en-US" altLang="zh-TW" sz="800">
                <a:solidFill>
                  <a:schemeClr val="accent3"/>
                </a:solidFill>
                <a:ea typeface="微軟正黑體"/>
                <a:cs typeface="Arial"/>
              </a:rPr>
              <a:t> 3.1 for durable goods'</a:t>
            </a:r>
            <a:r>
              <a:rPr kumimoji="1" lang="en-US" altLang="zh-TW" sz="800">
                <a:solidFill>
                  <a:schemeClr val="accent3"/>
                </a:solidFill>
                <a:ea typeface="微軟正黑體"/>
              </a:rPr>
              <a:t> profit analysis by brand</a:t>
            </a:r>
            <a:endParaRPr lang="zh-TW" altLang="en-US" sz="800">
              <a:solidFill>
                <a:schemeClr val="accent3"/>
              </a:solidFill>
              <a:ea typeface="微軟正黑體"/>
              <a:cs typeface="Arial"/>
            </a:endParaRPr>
          </a:p>
        </p:txBody>
      </p:sp>
      <p:graphicFrame>
        <p:nvGraphicFramePr>
          <p:cNvPr id="242" name="Chart 241">
            <a:extLst>
              <a:ext uri="{FF2B5EF4-FFF2-40B4-BE49-F238E27FC236}">
                <a16:creationId xmlns:a16="http://schemas.microsoft.com/office/drawing/2014/main" id="{2AAB6B90-AF8C-DDCF-5B4F-DE29FCB042A8}"/>
              </a:ext>
            </a:extLst>
          </p:cNvPr>
          <p:cNvGraphicFramePr/>
          <p:nvPr>
            <p:custDataLst>
              <p:tags r:id="rId2"/>
            </p:custDataLst>
            <p:extLst>
              <p:ext uri="{D42A27DB-BD31-4B8C-83A1-F6EECF244321}">
                <p14:modId xmlns:p14="http://schemas.microsoft.com/office/powerpoint/2010/main" val="1633091908"/>
              </p:ext>
            </p:extLst>
          </p:nvPr>
        </p:nvGraphicFramePr>
        <p:xfrm>
          <a:off x="4337050" y="4032250"/>
          <a:ext cx="2755900" cy="2101850"/>
        </p:xfrm>
        <a:graphic>
          <a:graphicData uri="http://schemas.openxmlformats.org/drawingml/2006/chart">
            <c:chart xmlns:c="http://schemas.openxmlformats.org/drawingml/2006/chart" xmlns:r="http://schemas.openxmlformats.org/officeDocument/2006/relationships" r:id="rId46"/>
          </a:graphicData>
        </a:graphic>
      </p:graphicFrame>
      <p:sp useBgFill="1">
        <p:nvSpPr>
          <p:cNvPr id="224" name="Freeform: Shape 223">
            <a:extLst>
              <a:ext uri="{FF2B5EF4-FFF2-40B4-BE49-F238E27FC236}">
                <a16:creationId xmlns:a16="http://schemas.microsoft.com/office/drawing/2014/main" id="{835ACA43-AAEB-FE8E-4D93-86FACF7F15BA}"/>
              </a:ext>
            </a:extLst>
          </p:cNvPr>
          <p:cNvSpPr/>
          <p:nvPr>
            <p:custDataLst>
              <p:tags r:id="rId3"/>
            </p:custDataLst>
          </p:nvPr>
        </p:nvSpPr>
        <p:spPr bwMode="auto">
          <a:xfrm>
            <a:off x="6826250" y="4303713"/>
            <a:ext cx="160339" cy="382588"/>
          </a:xfrm>
          <a:custGeom>
            <a:avLst/>
            <a:gdLst/>
            <a:ahLst/>
            <a:cxnLst/>
            <a:rect l="0" t="0" r="0" b="0"/>
            <a:pathLst>
              <a:path w="160339" h="382588">
                <a:moveTo>
                  <a:pt x="160338" y="0"/>
                </a:moveTo>
                <a:lnTo>
                  <a:pt x="57150" y="382587"/>
                </a:lnTo>
                <a:lnTo>
                  <a:pt x="0" y="382587"/>
                </a:lnTo>
                <a:lnTo>
                  <a:pt x="103188"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useBgFill="1">
        <p:nvSpPr>
          <p:cNvPr id="231" name="Freeform: Shape 230">
            <a:extLst>
              <a:ext uri="{FF2B5EF4-FFF2-40B4-BE49-F238E27FC236}">
                <a16:creationId xmlns:a16="http://schemas.microsoft.com/office/drawing/2014/main" id="{ADC62DBA-CA17-F6F3-906B-19A38A77DCAC}"/>
              </a:ext>
            </a:extLst>
          </p:cNvPr>
          <p:cNvSpPr/>
          <p:nvPr>
            <p:custDataLst>
              <p:tags r:id="rId4"/>
            </p:custDataLst>
          </p:nvPr>
        </p:nvSpPr>
        <p:spPr bwMode="auto">
          <a:xfrm>
            <a:off x="5329238" y="4303713"/>
            <a:ext cx="160338" cy="382588"/>
          </a:xfrm>
          <a:custGeom>
            <a:avLst/>
            <a:gdLst/>
            <a:ahLst/>
            <a:cxnLst/>
            <a:rect l="0" t="0" r="0" b="0"/>
            <a:pathLst>
              <a:path w="160338" h="382588">
                <a:moveTo>
                  <a:pt x="160337" y="0"/>
                </a:moveTo>
                <a:lnTo>
                  <a:pt x="57150" y="382587"/>
                </a:lnTo>
                <a:lnTo>
                  <a:pt x="0" y="382587"/>
                </a:lnTo>
                <a:lnTo>
                  <a:pt x="103187"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useBgFill="1">
        <p:nvSpPr>
          <p:cNvPr id="234" name="Freeform: Shape 233">
            <a:extLst>
              <a:ext uri="{FF2B5EF4-FFF2-40B4-BE49-F238E27FC236}">
                <a16:creationId xmlns:a16="http://schemas.microsoft.com/office/drawing/2014/main" id="{6B571B61-4FB0-75AF-F2AC-5F84717F03E3}"/>
              </a:ext>
            </a:extLst>
          </p:cNvPr>
          <p:cNvSpPr/>
          <p:nvPr>
            <p:custDataLst>
              <p:tags r:id="rId5"/>
            </p:custDataLst>
          </p:nvPr>
        </p:nvSpPr>
        <p:spPr bwMode="auto">
          <a:xfrm>
            <a:off x="5329238" y="4695825"/>
            <a:ext cx="160338" cy="382589"/>
          </a:xfrm>
          <a:custGeom>
            <a:avLst/>
            <a:gdLst/>
            <a:ahLst/>
            <a:cxnLst/>
            <a:rect l="0" t="0" r="0" b="0"/>
            <a:pathLst>
              <a:path w="160338" h="382589">
                <a:moveTo>
                  <a:pt x="160337" y="0"/>
                </a:moveTo>
                <a:lnTo>
                  <a:pt x="57150" y="382588"/>
                </a:lnTo>
                <a:lnTo>
                  <a:pt x="0" y="382588"/>
                </a:lnTo>
                <a:lnTo>
                  <a:pt x="103187"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useBgFill="1">
        <p:nvSpPr>
          <p:cNvPr id="237" name="Freeform: Shape 236">
            <a:extLst>
              <a:ext uri="{FF2B5EF4-FFF2-40B4-BE49-F238E27FC236}">
                <a16:creationId xmlns:a16="http://schemas.microsoft.com/office/drawing/2014/main" id="{C8C461D3-87D6-E790-43CD-D6199D8FBA4F}"/>
              </a:ext>
            </a:extLst>
          </p:cNvPr>
          <p:cNvSpPr/>
          <p:nvPr>
            <p:custDataLst>
              <p:tags r:id="rId6"/>
            </p:custDataLst>
          </p:nvPr>
        </p:nvSpPr>
        <p:spPr bwMode="auto">
          <a:xfrm>
            <a:off x="5329238" y="5087938"/>
            <a:ext cx="160338" cy="382588"/>
          </a:xfrm>
          <a:custGeom>
            <a:avLst/>
            <a:gdLst/>
            <a:ahLst/>
            <a:cxnLst/>
            <a:rect l="0" t="0" r="0" b="0"/>
            <a:pathLst>
              <a:path w="160338" h="382588">
                <a:moveTo>
                  <a:pt x="160337" y="0"/>
                </a:moveTo>
                <a:lnTo>
                  <a:pt x="57150" y="382587"/>
                </a:lnTo>
                <a:lnTo>
                  <a:pt x="0" y="382587"/>
                </a:lnTo>
                <a:lnTo>
                  <a:pt x="103187"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22" name="Freeform: Shape 221">
            <a:extLst>
              <a:ext uri="{FF2B5EF4-FFF2-40B4-BE49-F238E27FC236}">
                <a16:creationId xmlns:a16="http://schemas.microsoft.com/office/drawing/2014/main" id="{0ABE4C19-5391-0E19-0163-EAE0299CD395}"/>
              </a:ext>
            </a:extLst>
          </p:cNvPr>
          <p:cNvSpPr/>
          <p:nvPr>
            <p:custDataLst>
              <p:tags r:id="rId7"/>
            </p:custDataLst>
          </p:nvPr>
        </p:nvSpPr>
        <p:spPr bwMode="auto">
          <a:xfrm>
            <a:off x="6826250" y="4303713"/>
            <a:ext cx="103189" cy="382588"/>
          </a:xfrm>
          <a:custGeom>
            <a:avLst/>
            <a:gdLst/>
            <a:ahLst/>
            <a:cxnLst/>
            <a:rect l="0" t="0" r="0" b="0"/>
            <a:pathLst>
              <a:path w="103189" h="382588">
                <a:moveTo>
                  <a:pt x="103188" y="0"/>
                </a:moveTo>
                <a:lnTo>
                  <a:pt x="0" y="38258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3" name="Freeform: Shape 222">
            <a:extLst>
              <a:ext uri="{FF2B5EF4-FFF2-40B4-BE49-F238E27FC236}">
                <a16:creationId xmlns:a16="http://schemas.microsoft.com/office/drawing/2014/main" id="{9BC03129-892D-0E0A-891B-192F327392D8}"/>
              </a:ext>
            </a:extLst>
          </p:cNvPr>
          <p:cNvSpPr/>
          <p:nvPr>
            <p:custDataLst>
              <p:tags r:id="rId8"/>
            </p:custDataLst>
          </p:nvPr>
        </p:nvSpPr>
        <p:spPr bwMode="auto">
          <a:xfrm>
            <a:off x="6883400" y="4303713"/>
            <a:ext cx="103189" cy="382588"/>
          </a:xfrm>
          <a:custGeom>
            <a:avLst/>
            <a:gdLst/>
            <a:ahLst/>
            <a:cxnLst/>
            <a:rect l="0" t="0" r="0" b="0"/>
            <a:pathLst>
              <a:path w="103189" h="382588">
                <a:moveTo>
                  <a:pt x="103188" y="0"/>
                </a:moveTo>
                <a:lnTo>
                  <a:pt x="0" y="38258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9" name="Freeform: Shape 228">
            <a:extLst>
              <a:ext uri="{FF2B5EF4-FFF2-40B4-BE49-F238E27FC236}">
                <a16:creationId xmlns:a16="http://schemas.microsoft.com/office/drawing/2014/main" id="{B7684FA1-CEEC-6079-0BD5-4DCD95B699D0}"/>
              </a:ext>
            </a:extLst>
          </p:cNvPr>
          <p:cNvSpPr/>
          <p:nvPr>
            <p:custDataLst>
              <p:tags r:id="rId9"/>
            </p:custDataLst>
          </p:nvPr>
        </p:nvSpPr>
        <p:spPr bwMode="auto">
          <a:xfrm>
            <a:off x="5329238" y="4303713"/>
            <a:ext cx="103188" cy="382588"/>
          </a:xfrm>
          <a:custGeom>
            <a:avLst/>
            <a:gdLst/>
            <a:ahLst/>
            <a:cxnLst/>
            <a:rect l="0" t="0" r="0" b="0"/>
            <a:pathLst>
              <a:path w="103188" h="382588">
                <a:moveTo>
                  <a:pt x="103187" y="0"/>
                </a:moveTo>
                <a:lnTo>
                  <a:pt x="0" y="38258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0" name="Freeform: Shape 229">
            <a:extLst>
              <a:ext uri="{FF2B5EF4-FFF2-40B4-BE49-F238E27FC236}">
                <a16:creationId xmlns:a16="http://schemas.microsoft.com/office/drawing/2014/main" id="{27D81110-B006-AD85-877D-FE013656C903}"/>
              </a:ext>
            </a:extLst>
          </p:cNvPr>
          <p:cNvSpPr/>
          <p:nvPr>
            <p:custDataLst>
              <p:tags r:id="rId10"/>
            </p:custDataLst>
          </p:nvPr>
        </p:nvSpPr>
        <p:spPr bwMode="auto">
          <a:xfrm>
            <a:off x="5386388" y="4303713"/>
            <a:ext cx="103188" cy="382588"/>
          </a:xfrm>
          <a:custGeom>
            <a:avLst/>
            <a:gdLst/>
            <a:ahLst/>
            <a:cxnLst/>
            <a:rect l="0" t="0" r="0" b="0"/>
            <a:pathLst>
              <a:path w="103188" h="382588">
                <a:moveTo>
                  <a:pt x="103187" y="0"/>
                </a:moveTo>
                <a:lnTo>
                  <a:pt x="0" y="38258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2" name="Freeform: Shape 231">
            <a:extLst>
              <a:ext uri="{FF2B5EF4-FFF2-40B4-BE49-F238E27FC236}">
                <a16:creationId xmlns:a16="http://schemas.microsoft.com/office/drawing/2014/main" id="{8E8221D3-1C11-950E-03B0-333F603076B6}"/>
              </a:ext>
            </a:extLst>
          </p:cNvPr>
          <p:cNvSpPr/>
          <p:nvPr>
            <p:custDataLst>
              <p:tags r:id="rId11"/>
            </p:custDataLst>
          </p:nvPr>
        </p:nvSpPr>
        <p:spPr bwMode="auto">
          <a:xfrm>
            <a:off x="5329238" y="4695825"/>
            <a:ext cx="103188" cy="382589"/>
          </a:xfrm>
          <a:custGeom>
            <a:avLst/>
            <a:gdLst/>
            <a:ahLst/>
            <a:cxnLst/>
            <a:rect l="0" t="0" r="0" b="0"/>
            <a:pathLst>
              <a:path w="103188" h="382589">
                <a:moveTo>
                  <a:pt x="103187" y="0"/>
                </a:moveTo>
                <a:lnTo>
                  <a:pt x="0" y="3825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3" name="Freeform: Shape 232">
            <a:extLst>
              <a:ext uri="{FF2B5EF4-FFF2-40B4-BE49-F238E27FC236}">
                <a16:creationId xmlns:a16="http://schemas.microsoft.com/office/drawing/2014/main" id="{25F95709-2B1A-CE39-6C13-DA9D05BD4D93}"/>
              </a:ext>
            </a:extLst>
          </p:cNvPr>
          <p:cNvSpPr/>
          <p:nvPr>
            <p:custDataLst>
              <p:tags r:id="rId12"/>
            </p:custDataLst>
          </p:nvPr>
        </p:nvSpPr>
        <p:spPr bwMode="auto">
          <a:xfrm>
            <a:off x="5386388" y="4695825"/>
            <a:ext cx="103188" cy="382589"/>
          </a:xfrm>
          <a:custGeom>
            <a:avLst/>
            <a:gdLst/>
            <a:ahLst/>
            <a:cxnLst/>
            <a:rect l="0" t="0" r="0" b="0"/>
            <a:pathLst>
              <a:path w="103188" h="382589">
                <a:moveTo>
                  <a:pt x="103187" y="0"/>
                </a:moveTo>
                <a:lnTo>
                  <a:pt x="0" y="3825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5" name="Freeform: Shape 234">
            <a:extLst>
              <a:ext uri="{FF2B5EF4-FFF2-40B4-BE49-F238E27FC236}">
                <a16:creationId xmlns:a16="http://schemas.microsoft.com/office/drawing/2014/main" id="{C361DD99-E413-FD90-1CF1-C106610D9413}"/>
              </a:ext>
            </a:extLst>
          </p:cNvPr>
          <p:cNvSpPr/>
          <p:nvPr>
            <p:custDataLst>
              <p:tags r:id="rId13"/>
            </p:custDataLst>
          </p:nvPr>
        </p:nvSpPr>
        <p:spPr bwMode="auto">
          <a:xfrm>
            <a:off x="5329238" y="5087938"/>
            <a:ext cx="103188" cy="382588"/>
          </a:xfrm>
          <a:custGeom>
            <a:avLst/>
            <a:gdLst/>
            <a:ahLst/>
            <a:cxnLst/>
            <a:rect l="0" t="0" r="0" b="0"/>
            <a:pathLst>
              <a:path w="103188" h="382588">
                <a:moveTo>
                  <a:pt x="103187" y="0"/>
                </a:moveTo>
                <a:lnTo>
                  <a:pt x="0" y="38258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6" name="Freeform: Shape 235">
            <a:extLst>
              <a:ext uri="{FF2B5EF4-FFF2-40B4-BE49-F238E27FC236}">
                <a16:creationId xmlns:a16="http://schemas.microsoft.com/office/drawing/2014/main" id="{A4D60149-F425-1A56-2E86-3C75344EE982}"/>
              </a:ext>
            </a:extLst>
          </p:cNvPr>
          <p:cNvSpPr/>
          <p:nvPr>
            <p:custDataLst>
              <p:tags r:id="rId14"/>
            </p:custDataLst>
          </p:nvPr>
        </p:nvSpPr>
        <p:spPr bwMode="auto">
          <a:xfrm>
            <a:off x="5386388" y="5087938"/>
            <a:ext cx="103188" cy="382588"/>
          </a:xfrm>
          <a:custGeom>
            <a:avLst/>
            <a:gdLst/>
            <a:ahLst/>
            <a:cxnLst/>
            <a:rect l="0" t="0" r="0" b="0"/>
            <a:pathLst>
              <a:path w="103188" h="382588">
                <a:moveTo>
                  <a:pt x="103187" y="0"/>
                </a:moveTo>
                <a:lnTo>
                  <a:pt x="0" y="38258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5" name="Text Placeholder 2">
            <a:extLst>
              <a:ext uri="{FF2B5EF4-FFF2-40B4-BE49-F238E27FC236}">
                <a16:creationId xmlns:a16="http://schemas.microsoft.com/office/drawing/2014/main" id="{BA6AB4B1-7789-CE46-95B2-2777D779360B}"/>
              </a:ext>
            </a:extLst>
          </p:cNvPr>
          <p:cNvSpPr>
            <a:spLocks noGrp="1"/>
          </p:cNvSpPr>
          <p:nvPr>
            <p:custDataLst>
              <p:tags r:id="rId15"/>
            </p:custDataLst>
          </p:nvPr>
        </p:nvSpPr>
        <p:spPr bwMode="gray">
          <a:xfrm>
            <a:off x="6292850" y="4411663"/>
            <a:ext cx="5143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559DF578-3846-4F0E-B6D8-A8A859999628}" type="datetime'''''''''''1''''''0'''''''''''''',''5''''''6''''''0'''''''">
              <a:rPr lang="en-US" altLang="en-US" sz="1200" smtClean="0">
                <a:effectLst/>
              </a:rPr>
              <a:pPr lvl="0" algn="ctr" defTabSz="914400" eaLnBrk="1" latinLnBrk="0" hangingPunct="1">
                <a:spcBef>
                  <a:spcPct val="0"/>
                </a:spcBef>
                <a:spcAft>
                  <a:spcPct val="0"/>
                </a:spcAft>
                <a:buFont typeface="Arial" panose="020B0604020202020204" pitchFamily="34" charset="0"/>
                <a:buNone/>
              </a:pPr>
              <a:t>10,560</a:t>
            </a:fld>
            <a:endParaRPr lang="en-US" sz="1200" noProof="0"/>
          </a:p>
        </p:txBody>
      </p:sp>
      <p:sp>
        <p:nvSpPr>
          <p:cNvPr id="238" name="Text Placeholder 2">
            <a:extLst>
              <a:ext uri="{FF2B5EF4-FFF2-40B4-BE49-F238E27FC236}">
                <a16:creationId xmlns:a16="http://schemas.microsoft.com/office/drawing/2014/main" id="{BA6AB4B1-7789-CE46-95B2-2777D779360B}"/>
              </a:ext>
            </a:extLst>
          </p:cNvPr>
          <p:cNvSpPr>
            <a:spLocks noGrp="1"/>
          </p:cNvSpPr>
          <p:nvPr>
            <p:custDataLst>
              <p:tags r:id="rId16"/>
            </p:custDataLst>
          </p:nvPr>
        </p:nvSpPr>
        <p:spPr bwMode="gray">
          <a:xfrm>
            <a:off x="4879975" y="4411663"/>
            <a:ext cx="430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0C8D5887-F013-4202-8209-74F1055CAE75}" type="datetime'''''''''''''2,''2''''0''''''''''''''''''''''3'''''''">
              <a:rPr lang="en-US" altLang="en-US" sz="1200" smtClean="0">
                <a:effectLst/>
              </a:rPr>
              <a:pPr lvl="0" algn="ctr" defTabSz="914400" eaLnBrk="1" latinLnBrk="0" hangingPunct="1">
                <a:spcBef>
                  <a:spcPct val="0"/>
                </a:spcBef>
                <a:spcAft>
                  <a:spcPct val="0"/>
                </a:spcAft>
                <a:buFont typeface="Arial" panose="020B0604020202020204" pitchFamily="34" charset="0"/>
                <a:buNone/>
              </a:pPr>
              <a:t>2,203</a:t>
            </a:fld>
            <a:endParaRPr lang="en-US" sz="1200" noProof="0"/>
          </a:p>
        </p:txBody>
      </p:sp>
      <p:sp>
        <p:nvSpPr>
          <p:cNvPr id="129" name="Text Placeholder 2">
            <a:extLst>
              <a:ext uri="{FF2B5EF4-FFF2-40B4-BE49-F238E27FC236}">
                <a16:creationId xmlns:a16="http://schemas.microsoft.com/office/drawing/2014/main" id="{BA6AB4B1-7789-CE46-95B2-2777D779360B}"/>
              </a:ext>
            </a:extLst>
          </p:cNvPr>
          <p:cNvSpPr>
            <a:spLocks noGrp="1"/>
          </p:cNvSpPr>
          <p:nvPr>
            <p:custDataLst>
              <p:tags r:id="rId17"/>
            </p:custDataLst>
          </p:nvPr>
        </p:nvSpPr>
        <p:spPr bwMode="auto">
          <a:xfrm>
            <a:off x="3652838" y="4329113"/>
            <a:ext cx="56673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r">
              <a:spcBef>
                <a:spcPct val="0"/>
              </a:spcBef>
              <a:spcAft>
                <a:spcPct val="0"/>
              </a:spcAft>
            </a:pPr>
            <a:fld id="{87C19811-DF7C-41A6-B51F-75E988ABCC35}" type="datetime'''''''D''''u''''''''r''ab''''le''&#10;''''''''''G''''''''o''ods'''">
              <a:rPr lang="en-US" altLang="en-US" sz="1200" b="1" smtClean="0"/>
              <a:pPr lvl="0" algn="r">
                <a:spcBef>
                  <a:spcPct val="0"/>
                </a:spcBef>
                <a:spcAft>
                  <a:spcPct val="0"/>
                </a:spcAft>
              </a:pPr>
              <a:t>Durable
Goods</a:t>
            </a:fld>
            <a:endParaRPr lang="en-US" sz="1200" b="1" noProof="0"/>
          </a:p>
        </p:txBody>
      </p:sp>
      <p:sp>
        <p:nvSpPr>
          <p:cNvPr id="240" name="Text Placeholder 2">
            <a:extLst>
              <a:ext uri="{FF2B5EF4-FFF2-40B4-BE49-F238E27FC236}">
                <a16:creationId xmlns:a16="http://schemas.microsoft.com/office/drawing/2014/main" id="{BA6AB4B1-7789-CE46-95B2-2777D779360B}"/>
              </a:ext>
            </a:extLst>
          </p:cNvPr>
          <p:cNvSpPr>
            <a:spLocks noGrp="1"/>
          </p:cNvSpPr>
          <p:nvPr>
            <p:custDataLst>
              <p:tags r:id="rId18"/>
            </p:custDataLst>
          </p:nvPr>
        </p:nvSpPr>
        <p:spPr bwMode="gray">
          <a:xfrm>
            <a:off x="5727700" y="4803775"/>
            <a:ext cx="430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B9B3375E-E032-4E44-9B72-2A90BF7D6A1E}" type="datetime'2'''''',''''''1''''''''''''''8''''''''''''''''''7'">
              <a:rPr lang="en-US" altLang="en-US" sz="1200" smtClean="0">
                <a:effectLst/>
              </a:rPr>
              <a:pPr lvl="0" algn="ctr" defTabSz="914400" eaLnBrk="1" latinLnBrk="0" hangingPunct="1">
                <a:spcBef>
                  <a:spcPct val="0"/>
                </a:spcBef>
                <a:spcAft>
                  <a:spcPct val="0"/>
                </a:spcAft>
                <a:buFont typeface="Arial" panose="020B0604020202020204" pitchFamily="34" charset="0"/>
                <a:buNone/>
              </a:pPr>
              <a:t>2,187</a:t>
            </a:fld>
            <a:endParaRPr lang="en-US" sz="1200" noProof="0"/>
          </a:p>
        </p:txBody>
      </p:sp>
      <p:sp>
        <p:nvSpPr>
          <p:cNvPr id="130" name="Text Placeholder 2">
            <a:extLst>
              <a:ext uri="{FF2B5EF4-FFF2-40B4-BE49-F238E27FC236}">
                <a16:creationId xmlns:a16="http://schemas.microsoft.com/office/drawing/2014/main" id="{BA6AB4B1-7789-CE46-95B2-2777D779360B}"/>
              </a:ext>
            </a:extLst>
          </p:cNvPr>
          <p:cNvSpPr>
            <a:spLocks noGrp="1"/>
          </p:cNvSpPr>
          <p:nvPr>
            <p:custDataLst>
              <p:tags r:id="rId19"/>
            </p:custDataLst>
          </p:nvPr>
        </p:nvSpPr>
        <p:spPr bwMode="auto">
          <a:xfrm>
            <a:off x="3735388" y="4803774"/>
            <a:ext cx="484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r">
              <a:spcBef>
                <a:spcPct val="0"/>
              </a:spcBef>
              <a:spcAft>
                <a:spcPct val="0"/>
              </a:spcAft>
            </a:pPr>
            <a:r>
              <a:rPr lang="en-US" altLang="en-US" sz="1200" b="1"/>
              <a:t>Target </a:t>
            </a:r>
            <a:fld id="{E427B2F7-5798-4BE0-940D-E1DC7FFD00CA}" type="datetime'''''''G''o''o''''''''d''''s'''''''">
              <a:rPr lang="en-US" altLang="en-US" sz="1200" b="1" smtClean="0"/>
              <a:pPr algn="r">
                <a:spcBef>
                  <a:spcPct val="0"/>
                </a:spcBef>
                <a:spcAft>
                  <a:spcPct val="0"/>
                </a:spcAft>
              </a:pPr>
              <a:t>Goods</a:t>
            </a:fld>
            <a:endParaRPr lang="en-US" sz="1200" b="1" noProof="0"/>
          </a:p>
        </p:txBody>
      </p:sp>
      <p:sp>
        <p:nvSpPr>
          <p:cNvPr id="241" name="Text Placeholder 2">
            <a:extLst>
              <a:ext uri="{FF2B5EF4-FFF2-40B4-BE49-F238E27FC236}">
                <a16:creationId xmlns:a16="http://schemas.microsoft.com/office/drawing/2014/main" id="{BA6AB4B1-7789-CE46-95B2-2777D779360B}"/>
              </a:ext>
            </a:extLst>
          </p:cNvPr>
          <p:cNvSpPr>
            <a:spLocks noGrp="1"/>
          </p:cNvSpPr>
          <p:nvPr>
            <p:custDataLst>
              <p:tags r:id="rId20"/>
            </p:custDataLst>
          </p:nvPr>
        </p:nvSpPr>
        <p:spPr bwMode="gray">
          <a:xfrm>
            <a:off x="4922838" y="5195888"/>
            <a:ext cx="430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A480CCE0-1F6F-403D-840C-5DFD41E865E1}" type="datetime'''''1'''''''''',''''''2''''''''5''''''''''5'''''''''''''''''''">
              <a:rPr lang="en-US" altLang="en-US" sz="1200" smtClean="0">
                <a:effectLst/>
              </a:rPr>
              <a:pPr lvl="0" algn="ctr" defTabSz="914400" eaLnBrk="1" latinLnBrk="0" hangingPunct="1">
                <a:spcBef>
                  <a:spcPct val="0"/>
                </a:spcBef>
                <a:spcAft>
                  <a:spcPct val="0"/>
                </a:spcAft>
                <a:buFont typeface="Arial" panose="020B0604020202020204" pitchFamily="34" charset="0"/>
                <a:buNone/>
              </a:pPr>
              <a:t>1,255</a:t>
            </a:fld>
            <a:endParaRPr lang="en-US" sz="1200" noProof="0"/>
          </a:p>
        </p:txBody>
      </p:sp>
      <p:sp>
        <p:nvSpPr>
          <p:cNvPr id="131" name="Text Placeholder 2">
            <a:extLst>
              <a:ext uri="{FF2B5EF4-FFF2-40B4-BE49-F238E27FC236}">
                <a16:creationId xmlns:a16="http://schemas.microsoft.com/office/drawing/2014/main" id="{BA6AB4B1-7789-CE46-95B2-2777D779360B}"/>
              </a:ext>
            </a:extLst>
          </p:cNvPr>
          <p:cNvSpPr>
            <a:spLocks noGrp="1"/>
          </p:cNvSpPr>
          <p:nvPr>
            <p:custDataLst>
              <p:tags r:id="rId21"/>
            </p:custDataLst>
          </p:nvPr>
        </p:nvSpPr>
        <p:spPr bwMode="auto">
          <a:xfrm>
            <a:off x="3617913" y="5113338"/>
            <a:ext cx="6016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r">
              <a:spcBef>
                <a:spcPct val="0"/>
              </a:spcBef>
              <a:spcAft>
                <a:spcPct val="0"/>
              </a:spcAft>
            </a:pPr>
            <a:fld id="{779BCCFC-3BE9-40A0-913F-3D48465E6984}" type="datetime'S''t''''ar''''te''''r''''''&#10;''B''''u''''''n''''d''''les'''''">
              <a:rPr lang="en-US" altLang="en-US" sz="1200" b="1" smtClean="0"/>
              <a:pPr lvl="0" algn="r">
                <a:spcBef>
                  <a:spcPct val="0"/>
                </a:spcBef>
                <a:spcAft>
                  <a:spcPct val="0"/>
                </a:spcAft>
              </a:pPr>
              <a:t>Starter
Bundles</a:t>
            </a:fld>
            <a:endParaRPr lang="en-US" sz="1200" b="1" noProof="0"/>
          </a:p>
        </p:txBody>
      </p:sp>
      <p:sp>
        <p:nvSpPr>
          <p:cNvPr id="227" name="Text Placeholder 2">
            <a:extLst>
              <a:ext uri="{FF2B5EF4-FFF2-40B4-BE49-F238E27FC236}">
                <a16:creationId xmlns:a16="http://schemas.microsoft.com/office/drawing/2014/main" id="{BA6AB4B1-7789-CE46-95B2-2777D779360B}"/>
              </a:ext>
            </a:extLst>
          </p:cNvPr>
          <p:cNvSpPr>
            <a:spLocks noGrp="1"/>
          </p:cNvSpPr>
          <p:nvPr>
            <p:custDataLst>
              <p:tags r:id="rId22"/>
            </p:custDataLst>
          </p:nvPr>
        </p:nvSpPr>
        <p:spPr bwMode="gray">
          <a:xfrm>
            <a:off x="4340225" y="5588000"/>
            <a:ext cx="219075" cy="165100"/>
          </a:xfrm>
          <a:prstGeom prst="rect">
            <a:avLst/>
          </a:prstGeom>
          <a:solidFill>
            <a:srgbClr val="D2D2D2"/>
          </a:solidFill>
          <a:ln>
            <a:noFill/>
          </a:ln>
          <a:effec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ctr" defTabSz="914400" eaLnBrk="1" latinLnBrk="0" hangingPunct="1">
              <a:spcBef>
                <a:spcPct val="0"/>
              </a:spcBef>
              <a:spcAft>
                <a:spcPct val="0"/>
              </a:spcAft>
              <a:buFont typeface="Arial" panose="020B0604020202020204" pitchFamily="34" charset="0"/>
              <a:buNone/>
            </a:pPr>
            <a:fld id="{9922ECB9-4C6B-4CC4-B333-E62DBC5CC0E3}" type="datetime'''''5''''''''''''''2'''''''''">
              <a:rPr lang="en-US" altLang="en-US" sz="1200" smtClean="0">
                <a:effectLst/>
              </a:rPr>
              <a:pPr lvl="0" algn="ctr" defTabSz="914400" eaLnBrk="1" latinLnBrk="0" hangingPunct="1">
                <a:spcBef>
                  <a:spcPct val="0"/>
                </a:spcBef>
                <a:spcAft>
                  <a:spcPct val="0"/>
                </a:spcAft>
                <a:buFont typeface="Arial" panose="020B0604020202020204" pitchFamily="34" charset="0"/>
                <a:buNone/>
              </a:pPr>
              <a:t>52</a:t>
            </a:fld>
            <a:endParaRPr lang="en-US" sz="1200" noProof="0"/>
          </a:p>
        </p:txBody>
      </p:sp>
      <p:sp>
        <p:nvSpPr>
          <p:cNvPr id="158" name="Text Placeholder 2">
            <a:extLst>
              <a:ext uri="{FF2B5EF4-FFF2-40B4-BE49-F238E27FC236}">
                <a16:creationId xmlns:a16="http://schemas.microsoft.com/office/drawing/2014/main" id="{B3D53443-C174-BCFB-D233-B44E9A9C7007}"/>
              </a:ext>
            </a:extLst>
          </p:cNvPr>
          <p:cNvSpPr>
            <a:spLocks noGrp="1"/>
          </p:cNvSpPr>
          <p:nvPr>
            <p:custDataLst>
              <p:tags r:id="rId23"/>
            </p:custDataLst>
          </p:nvPr>
        </p:nvSpPr>
        <p:spPr bwMode="auto">
          <a:xfrm>
            <a:off x="3313113" y="5505450"/>
            <a:ext cx="9064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r">
              <a:spcBef>
                <a:spcPct val="0"/>
              </a:spcBef>
              <a:spcAft>
                <a:spcPct val="0"/>
              </a:spcAft>
            </a:pPr>
            <a:fld id="{5354A652-E145-4F83-BB1A-91544EF4AA0A}" type="datetime'''F''''''''ast''''-m''''''o''v''''i''''ng''''''''&#10;Good''s'''">
              <a:rPr lang="en-US" altLang="en-US" sz="1200" b="1" smtClean="0"/>
              <a:pPr lvl="0" algn="r">
                <a:spcBef>
                  <a:spcPct val="0"/>
                </a:spcBef>
                <a:spcAft>
                  <a:spcPct val="0"/>
                </a:spcAft>
              </a:pPr>
              <a:t>Fast-moving
Goods</a:t>
            </a:fld>
            <a:endParaRPr lang="en-US" sz="1200" b="1" noProof="0"/>
          </a:p>
        </p:txBody>
      </p:sp>
      <p:sp>
        <p:nvSpPr>
          <p:cNvPr id="135" name="Text Placeholder 2">
            <a:extLst>
              <a:ext uri="{FF2B5EF4-FFF2-40B4-BE49-F238E27FC236}">
                <a16:creationId xmlns:a16="http://schemas.microsoft.com/office/drawing/2014/main" id="{BA6AB4B1-7789-CE46-95B2-2777D779360B}"/>
              </a:ext>
            </a:extLst>
          </p:cNvPr>
          <p:cNvSpPr>
            <a:spLocks noGrp="1"/>
          </p:cNvSpPr>
          <p:nvPr>
            <p:custDataLst>
              <p:tags r:id="rId24"/>
            </p:custDataLst>
          </p:nvPr>
        </p:nvSpPr>
        <p:spPr bwMode="gray">
          <a:xfrm>
            <a:off x="7035800" y="4411662"/>
            <a:ext cx="5143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5ECD82DA-D6DC-4C9C-951E-4F7CC6AE2ADE}" type="datetime'''''''''1''''2'''''''''''''''''''',''''''''76''''3'''''">
              <a:rPr lang="en-US" altLang="en-US" sz="1200" b="1" smtClean="0"/>
              <a:pPr lvl="0">
                <a:spcBef>
                  <a:spcPct val="0"/>
                </a:spcBef>
                <a:spcAft>
                  <a:spcPct val="0"/>
                </a:spcAft>
              </a:pPr>
              <a:t>12,763</a:t>
            </a:fld>
            <a:endParaRPr lang="en-US" sz="1200" b="1" noProof="0"/>
          </a:p>
        </p:txBody>
      </p:sp>
      <p:sp>
        <p:nvSpPr>
          <p:cNvPr id="136" name="Text Placeholder 2">
            <a:extLst>
              <a:ext uri="{FF2B5EF4-FFF2-40B4-BE49-F238E27FC236}">
                <a16:creationId xmlns:a16="http://schemas.microsoft.com/office/drawing/2014/main" id="{BA6AB4B1-7789-CE46-95B2-2777D779360B}"/>
              </a:ext>
            </a:extLst>
          </p:cNvPr>
          <p:cNvSpPr>
            <a:spLocks noGrp="1"/>
          </p:cNvSpPr>
          <p:nvPr>
            <p:custDataLst>
              <p:tags r:id="rId25"/>
            </p:custDataLst>
          </p:nvPr>
        </p:nvSpPr>
        <p:spPr bwMode="gray">
          <a:xfrm>
            <a:off x="6824663" y="4803774"/>
            <a:ext cx="430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83B977DF-1649-48A3-B422-E00B35266D73}" type="datetime'''2'''''''''',''''''''''''''''''''''7''5''''''''0'''''''''''">
              <a:rPr lang="en-US" altLang="en-US" sz="1200" b="1" smtClean="0"/>
              <a:pPr lvl="0">
                <a:spcBef>
                  <a:spcPct val="0"/>
                </a:spcBef>
                <a:spcAft>
                  <a:spcPct val="0"/>
                </a:spcAft>
              </a:pPr>
              <a:t>2,750</a:t>
            </a:fld>
            <a:endParaRPr lang="en-US" sz="1200" b="1" noProof="0"/>
          </a:p>
        </p:txBody>
      </p:sp>
      <p:sp>
        <p:nvSpPr>
          <p:cNvPr id="137" name="Text Placeholder 2">
            <a:extLst>
              <a:ext uri="{FF2B5EF4-FFF2-40B4-BE49-F238E27FC236}">
                <a16:creationId xmlns:a16="http://schemas.microsoft.com/office/drawing/2014/main" id="{BA6AB4B1-7789-CE46-95B2-2777D779360B}"/>
              </a:ext>
            </a:extLst>
          </p:cNvPr>
          <p:cNvSpPr>
            <a:spLocks noGrp="1"/>
          </p:cNvSpPr>
          <p:nvPr>
            <p:custDataLst>
              <p:tags r:id="rId26"/>
            </p:custDataLst>
          </p:nvPr>
        </p:nvSpPr>
        <p:spPr bwMode="gray">
          <a:xfrm>
            <a:off x="5540375" y="5195887"/>
            <a:ext cx="430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03C655A7-60F8-4479-AC64-664D6B6BC950}" type="datetime'''''1'',''''''6''''''''''''''''''''''''''''''''''''''''65'">
              <a:rPr lang="en-US" altLang="en-US" sz="1200" b="1" smtClean="0"/>
              <a:pPr lvl="0">
                <a:spcBef>
                  <a:spcPct val="0"/>
                </a:spcBef>
                <a:spcAft>
                  <a:spcPct val="0"/>
                </a:spcAft>
              </a:pPr>
              <a:t>1,665</a:t>
            </a:fld>
            <a:endParaRPr lang="en-US" sz="1200" b="1" noProof="0"/>
          </a:p>
        </p:txBody>
      </p:sp>
      <p:sp>
        <p:nvSpPr>
          <p:cNvPr id="199" name="Text Placeholder 2">
            <a:extLst>
              <a:ext uri="{FF2B5EF4-FFF2-40B4-BE49-F238E27FC236}">
                <a16:creationId xmlns:a16="http://schemas.microsoft.com/office/drawing/2014/main" id="{BA6AB4B1-7789-CE46-95B2-2777D779360B}"/>
              </a:ext>
            </a:extLst>
          </p:cNvPr>
          <p:cNvSpPr>
            <a:spLocks noGrp="1"/>
          </p:cNvSpPr>
          <p:nvPr>
            <p:custDataLst>
              <p:tags r:id="rId27"/>
            </p:custDataLst>
          </p:nvPr>
        </p:nvSpPr>
        <p:spPr bwMode="gray">
          <a:xfrm>
            <a:off x="5329238" y="5587999"/>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defTabSz="914400" eaLnBrk="1" latinLnBrk="0" hangingPunct="1">
              <a:spcBef>
                <a:spcPct val="0"/>
              </a:spcBef>
              <a:spcAft>
                <a:spcPct val="0"/>
              </a:spcAft>
              <a:buFont typeface="Arial" panose="020B0604020202020204" pitchFamily="34" charset="0"/>
              <a:buNone/>
            </a:pPr>
            <a:fld id="{06052E69-AB78-45D5-855A-4987D1C5FAF6}" type="datetime'''''''''''7''''''''4''6'''''''''''''''">
              <a:rPr lang="en-US" altLang="en-US" sz="1200" b="1" smtClean="0">
                <a:effectLst/>
              </a:rPr>
              <a:pPr lvl="0" defTabSz="914400" eaLnBrk="1" latinLnBrk="0" hangingPunct="1">
                <a:spcBef>
                  <a:spcPct val="0"/>
                </a:spcBef>
                <a:spcAft>
                  <a:spcPct val="0"/>
                </a:spcAft>
                <a:buFont typeface="Arial" panose="020B0604020202020204" pitchFamily="34" charset="0"/>
                <a:buNone/>
              </a:pPr>
              <a:t>746</a:t>
            </a:fld>
            <a:endParaRPr lang="en-US" sz="1200" b="1" noProof="0"/>
          </a:p>
        </p:txBody>
      </p:sp>
      <p:sp>
        <p:nvSpPr>
          <p:cNvPr id="204" name="Rectangle 203">
            <a:extLst>
              <a:ext uri="{FF2B5EF4-FFF2-40B4-BE49-F238E27FC236}">
                <a16:creationId xmlns:a16="http://schemas.microsoft.com/office/drawing/2014/main" id="{4E8FD7AD-E81E-9363-73B3-6CBFC9F8C701}"/>
              </a:ext>
            </a:extLst>
          </p:cNvPr>
          <p:cNvSpPr/>
          <p:nvPr>
            <p:custDataLst>
              <p:tags r:id="rId28"/>
            </p:custDataLst>
          </p:nvPr>
        </p:nvSpPr>
        <p:spPr bwMode="auto">
          <a:xfrm>
            <a:off x="3492499" y="6073775"/>
            <a:ext cx="179388" cy="133350"/>
          </a:xfrm>
          <a:prstGeom prst="rect">
            <a:avLst/>
          </a:prstGeom>
          <a:solidFill>
            <a:srgbClr val="D2D2D2"/>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205" name="Rectangle 204">
            <a:extLst>
              <a:ext uri="{FF2B5EF4-FFF2-40B4-BE49-F238E27FC236}">
                <a16:creationId xmlns:a16="http://schemas.microsoft.com/office/drawing/2014/main" id="{4ECBD59A-C82F-6ADA-3789-9AFC2A8620A0}"/>
              </a:ext>
            </a:extLst>
          </p:cNvPr>
          <p:cNvSpPr/>
          <p:nvPr>
            <p:custDataLst>
              <p:tags r:id="rId29"/>
            </p:custDataLst>
          </p:nvPr>
        </p:nvSpPr>
        <p:spPr bwMode="auto">
          <a:xfrm>
            <a:off x="4933950" y="6073775"/>
            <a:ext cx="179388" cy="133350"/>
          </a:xfrm>
          <a:prstGeom prst="rect">
            <a:avLst/>
          </a:prstGeom>
          <a:solidFill>
            <a:srgbClr val="A5A5A5"/>
          </a:solidFill>
          <a:ln w="9525" cmpd="sng" algn="ctr">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1400" err="1">
              <a:solidFill>
                <a:schemeClr val="tx1"/>
              </a:solidFill>
            </a:endParaRPr>
          </a:p>
        </p:txBody>
      </p:sp>
      <p:sp>
        <p:nvSpPr>
          <p:cNvPr id="134" name="Text Placeholder 2">
            <a:extLst>
              <a:ext uri="{FF2B5EF4-FFF2-40B4-BE49-F238E27FC236}">
                <a16:creationId xmlns:a16="http://schemas.microsoft.com/office/drawing/2014/main" id="{BA6AB4B1-7789-CE46-95B2-2777D779360B}"/>
              </a:ext>
            </a:extLst>
          </p:cNvPr>
          <p:cNvSpPr>
            <a:spLocks noGrp="1"/>
          </p:cNvSpPr>
          <p:nvPr>
            <p:custDataLst>
              <p:tags r:id="rId30"/>
            </p:custDataLst>
          </p:nvPr>
        </p:nvSpPr>
        <p:spPr bwMode="auto">
          <a:xfrm>
            <a:off x="3722688" y="6081713"/>
            <a:ext cx="1109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66E6F95D-F141-411D-9131-D8D7677E0A9C}" type="datetime'''''Be''''''''''g''in''''''ne''''''r C''om''p''''la''int'''''">
              <a:rPr lang="en-US" altLang="en-US" sz="1000" smtClean="0"/>
              <a:pPr lvl="0">
                <a:spcBef>
                  <a:spcPct val="0"/>
                </a:spcBef>
                <a:spcAft>
                  <a:spcPct val="0"/>
                </a:spcAft>
              </a:pPr>
              <a:t>Beginner Complaint</a:t>
            </a:fld>
            <a:endParaRPr lang="en-US" sz="1000" noProof="0"/>
          </a:p>
        </p:txBody>
      </p:sp>
      <p:sp>
        <p:nvSpPr>
          <p:cNvPr id="133" name="Text Placeholder 2">
            <a:extLst>
              <a:ext uri="{FF2B5EF4-FFF2-40B4-BE49-F238E27FC236}">
                <a16:creationId xmlns:a16="http://schemas.microsoft.com/office/drawing/2014/main" id="{BA6AB4B1-7789-CE46-95B2-2777D779360B}"/>
              </a:ext>
            </a:extLst>
          </p:cNvPr>
          <p:cNvSpPr>
            <a:spLocks noGrp="1"/>
          </p:cNvSpPr>
          <p:nvPr>
            <p:custDataLst>
              <p:tags r:id="rId31"/>
            </p:custDataLst>
          </p:nvPr>
        </p:nvSpPr>
        <p:spPr bwMode="auto">
          <a:xfrm>
            <a:off x="5164138" y="6081713"/>
            <a:ext cx="1384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fld id="{766CDE54-2E9F-40F3-9253-0057A6B34DAD}" type="datetime'N''''on''''-Begi''''''''nn''er ''''''''''Co''''mpl''ain''t'''">
              <a:rPr lang="en-US" altLang="en-US" sz="1000" smtClean="0"/>
              <a:pPr lvl="0">
                <a:spcBef>
                  <a:spcPct val="0"/>
                </a:spcBef>
                <a:spcAft>
                  <a:spcPct val="0"/>
                </a:spcAft>
              </a:pPr>
              <a:t>Non-Beginner Complaint</a:t>
            </a:fld>
            <a:endParaRPr lang="en-US" sz="1000" noProof="0"/>
          </a:p>
        </p:txBody>
      </p:sp>
      <p:graphicFrame>
        <p:nvGraphicFramePr>
          <p:cNvPr id="327" name="Chart 326">
            <a:extLst>
              <a:ext uri="{FF2B5EF4-FFF2-40B4-BE49-F238E27FC236}">
                <a16:creationId xmlns:a16="http://schemas.microsoft.com/office/drawing/2014/main" id="{58B48D4E-2BD2-0D67-F7CA-84DBF68FECCE}"/>
              </a:ext>
            </a:extLst>
          </p:cNvPr>
          <p:cNvGraphicFramePr/>
          <p:nvPr>
            <p:custDataLst>
              <p:tags r:id="rId32"/>
            </p:custDataLst>
            <p:extLst>
              <p:ext uri="{D42A27DB-BD31-4B8C-83A1-F6EECF244321}">
                <p14:modId xmlns:p14="http://schemas.microsoft.com/office/powerpoint/2010/main" val="3995113904"/>
              </p:ext>
            </p:extLst>
          </p:nvPr>
        </p:nvGraphicFramePr>
        <p:xfrm>
          <a:off x="4516438" y="1495425"/>
          <a:ext cx="1433512" cy="1433513"/>
        </p:xfrm>
        <a:graphic>
          <a:graphicData uri="http://schemas.openxmlformats.org/drawingml/2006/chart">
            <c:chart xmlns:c="http://schemas.openxmlformats.org/drawingml/2006/chart" xmlns:r="http://schemas.openxmlformats.org/officeDocument/2006/relationships" r:id="rId47"/>
          </a:graphicData>
        </a:graphic>
      </p:graphicFrame>
      <p:sp>
        <p:nvSpPr>
          <p:cNvPr id="243" name="Text Placeholder 2">
            <a:extLst>
              <a:ext uri="{FF2B5EF4-FFF2-40B4-BE49-F238E27FC236}">
                <a16:creationId xmlns:a16="http://schemas.microsoft.com/office/drawing/2014/main" id="{BA6AB4B1-7789-CE46-95B2-2777D779360B}"/>
              </a:ext>
            </a:extLst>
          </p:cNvPr>
          <p:cNvSpPr>
            <a:spLocks noGrp="1"/>
          </p:cNvSpPr>
          <p:nvPr>
            <p:custDataLst>
              <p:tags r:id="rId33"/>
            </p:custDataLst>
          </p:nvPr>
        </p:nvSpPr>
        <p:spPr bwMode="auto">
          <a:xfrm>
            <a:off x="5729288" y="1460500"/>
            <a:ext cx="849313"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spcBef>
                <a:spcPct val="0"/>
              </a:spcBef>
              <a:spcAft>
                <a:spcPct val="0"/>
              </a:spcAft>
            </a:pPr>
            <a:r>
              <a:rPr lang="en-US" altLang="en-US" sz="1000"/>
              <a:t>Durable Goods</a:t>
            </a:r>
            <a:br>
              <a:rPr lang="en-US" altLang="en-US" sz="1000"/>
            </a:br>
            <a:fld id="{251023E7-A20E-4711-A75F-2056B5757864}" type="datetime'''''''''''''2''''6'''''''''''''''''''''''">
              <a:rPr lang="en-US" altLang="en-US" sz="1200" b="1" smtClean="0"/>
              <a:pPr lvl="0">
                <a:spcBef>
                  <a:spcPct val="0"/>
                </a:spcBef>
                <a:spcAft>
                  <a:spcPct val="0"/>
                </a:spcAft>
              </a:pPr>
              <a:t>26</a:t>
            </a:fld>
            <a:endParaRPr lang="en-US" sz="1000" b="1" noProof="0"/>
          </a:p>
        </p:txBody>
      </p:sp>
      <p:sp>
        <p:nvSpPr>
          <p:cNvPr id="245" name="Text Placeholder 2">
            <a:extLst>
              <a:ext uri="{FF2B5EF4-FFF2-40B4-BE49-F238E27FC236}">
                <a16:creationId xmlns:a16="http://schemas.microsoft.com/office/drawing/2014/main" id="{BA6AB4B1-7789-CE46-95B2-2777D779360B}"/>
              </a:ext>
            </a:extLst>
          </p:cNvPr>
          <p:cNvSpPr>
            <a:spLocks noGrp="1"/>
          </p:cNvSpPr>
          <p:nvPr>
            <p:custDataLst>
              <p:tags r:id="rId34"/>
            </p:custDataLst>
          </p:nvPr>
        </p:nvSpPr>
        <p:spPr bwMode="auto">
          <a:xfrm>
            <a:off x="3940175" y="2538413"/>
            <a:ext cx="696913" cy="438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lgn="r">
              <a:spcBef>
                <a:spcPct val="0"/>
              </a:spcBef>
              <a:spcAft>
                <a:spcPct val="0"/>
              </a:spcAft>
            </a:pPr>
            <a:r>
              <a:rPr lang="en-US" altLang="en-US" sz="1000"/>
              <a:t>Fast-moving</a:t>
            </a:r>
            <a:br>
              <a:rPr lang="en-US" altLang="en-US" sz="1000"/>
            </a:br>
            <a:r>
              <a:rPr lang="en-US" altLang="en-US" sz="1000"/>
              <a:t>Goods</a:t>
            </a:r>
            <a:br>
              <a:rPr lang="en-US" altLang="en-US" sz="1000"/>
            </a:br>
            <a:fld id="{D3E37517-76BA-4A93-A7EC-B31F1ABA0D40}" type="datetime'''''''''''''''''7''''''''0'''''''''">
              <a:rPr lang="en-US" altLang="en-US" sz="1200" b="1" smtClean="0"/>
              <a:pPr lvl="0" algn="r">
                <a:spcBef>
                  <a:spcPct val="0"/>
                </a:spcBef>
                <a:spcAft>
                  <a:spcPct val="0"/>
                </a:spcAft>
              </a:pPr>
              <a:t>70</a:t>
            </a:fld>
            <a:endParaRPr lang="en-US" sz="1200" b="1" noProof="0"/>
          </a:p>
        </p:txBody>
      </p:sp>
      <p:sp>
        <p:nvSpPr>
          <p:cNvPr id="246" name="Text Placeholder 2">
            <a:extLst>
              <a:ext uri="{FF2B5EF4-FFF2-40B4-BE49-F238E27FC236}">
                <a16:creationId xmlns:a16="http://schemas.microsoft.com/office/drawing/2014/main" id="{BA6AB4B1-7789-CE46-95B2-2777D779360B}"/>
              </a:ext>
            </a:extLst>
          </p:cNvPr>
          <p:cNvSpPr>
            <a:spLocks noGrp="1"/>
          </p:cNvSpPr>
          <p:nvPr>
            <p:custDataLst>
              <p:tags r:id="rId35"/>
            </p:custDataLst>
          </p:nvPr>
        </p:nvSpPr>
        <p:spPr bwMode="auto">
          <a:xfrm>
            <a:off x="4949825" y="1244600"/>
            <a:ext cx="371475"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r">
              <a:spcBef>
                <a:spcPct val="0"/>
              </a:spcBef>
              <a:spcAft>
                <a:spcPct val="0"/>
              </a:spcAft>
            </a:pPr>
            <a:r>
              <a:rPr lang="en-US" altLang="en-US" sz="1000"/>
              <a:t>Target Goods</a:t>
            </a:r>
            <a:br>
              <a:rPr lang="en-US" altLang="en-US" sz="1000"/>
            </a:br>
            <a:r>
              <a:rPr lang="en-US" altLang="en-US" sz="1200" b="1"/>
              <a:t>3.74</a:t>
            </a:r>
            <a:endParaRPr lang="en-US" sz="1200" b="1" noProof="0" dirty="0"/>
          </a:p>
        </p:txBody>
      </p:sp>
      <p:sp>
        <p:nvSpPr>
          <p:cNvPr id="301" name="文本框 32">
            <a:extLst>
              <a:ext uri="{FF2B5EF4-FFF2-40B4-BE49-F238E27FC236}">
                <a16:creationId xmlns:a16="http://schemas.microsoft.com/office/drawing/2014/main" id="{E2DC4368-4D2A-4623-B191-92C37E8FDFD8}"/>
              </a:ext>
            </a:extLst>
          </p:cNvPr>
          <p:cNvSpPr txBox="1"/>
          <p:nvPr/>
        </p:nvSpPr>
        <p:spPr>
          <a:xfrm>
            <a:off x="3428999" y="1150994"/>
            <a:ext cx="1093248" cy="38779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90000"/>
              </a:lnSpc>
            </a:pPr>
            <a:r>
              <a:rPr lang="zh-CN" altLang="en-US" sz="1400" b="1">
                <a:solidFill>
                  <a:srgbClr val="565656"/>
                </a:solidFill>
                <a:ea typeface="黑体"/>
                <a:cs typeface="Arial"/>
              </a:rPr>
              <a:t>Profit</a:t>
            </a:r>
            <a:br>
              <a:rPr lang="en-US" altLang="zh-CN" sz="1400" b="1">
                <a:solidFill>
                  <a:srgbClr val="565656"/>
                </a:solidFill>
                <a:ea typeface="黑体"/>
                <a:cs typeface="Arial"/>
              </a:rPr>
            </a:br>
            <a:r>
              <a:rPr lang="zh-CN" altLang="en-US" sz="1400" b="1">
                <a:solidFill>
                  <a:srgbClr val="565656"/>
                </a:solidFill>
                <a:ea typeface="黑体"/>
                <a:cs typeface="Arial"/>
              </a:rPr>
              <a:t>Composition</a:t>
            </a:r>
          </a:p>
        </p:txBody>
      </p:sp>
      <p:sp>
        <p:nvSpPr>
          <p:cNvPr id="310" name="Rectangle 309">
            <a:extLst>
              <a:ext uri="{FF2B5EF4-FFF2-40B4-BE49-F238E27FC236}">
                <a16:creationId xmlns:a16="http://schemas.microsoft.com/office/drawing/2014/main" id="{D736E393-63F4-25E6-D77F-3B1274E329A8}"/>
              </a:ext>
            </a:extLst>
          </p:cNvPr>
          <p:cNvSpPr/>
          <p:nvPr/>
        </p:nvSpPr>
        <p:spPr>
          <a:xfrm>
            <a:off x="6135686" y="1743074"/>
            <a:ext cx="1188720" cy="661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90000"/>
              </a:lnSpc>
            </a:pPr>
            <a:r>
              <a:rPr lang="en-US" sz="1200" b="1">
                <a:solidFill>
                  <a:schemeClr val="tx2"/>
                </a:solidFill>
              </a:rPr>
              <a:t>24.2% </a:t>
            </a:r>
          </a:p>
          <a:p>
            <a:pPr algn="l">
              <a:lnSpc>
                <a:spcPct val="90000"/>
              </a:lnSpc>
            </a:pPr>
            <a:r>
              <a:rPr lang="en-US" sz="1000">
                <a:solidFill>
                  <a:schemeClr val="tx1"/>
                </a:solidFill>
              </a:rPr>
              <a:t>From customer who buy durable goods alone</a:t>
            </a:r>
          </a:p>
        </p:txBody>
      </p:sp>
      <p:sp>
        <p:nvSpPr>
          <p:cNvPr id="311" name="Rectangle 310">
            <a:extLst>
              <a:ext uri="{FF2B5EF4-FFF2-40B4-BE49-F238E27FC236}">
                <a16:creationId xmlns:a16="http://schemas.microsoft.com/office/drawing/2014/main" id="{74A2BE8C-897F-8059-1E90-306E0AA79F10}"/>
              </a:ext>
            </a:extLst>
          </p:cNvPr>
          <p:cNvSpPr/>
          <p:nvPr/>
        </p:nvSpPr>
        <p:spPr>
          <a:xfrm>
            <a:off x="6135686" y="2528888"/>
            <a:ext cx="118872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90000"/>
              </a:lnSpc>
            </a:pPr>
            <a:r>
              <a:rPr lang="en-US" sz="1200" b="1">
                <a:solidFill>
                  <a:schemeClr val="tx2"/>
                </a:solidFill>
              </a:rPr>
              <a:t>1.8% </a:t>
            </a:r>
          </a:p>
          <a:p>
            <a:pPr>
              <a:lnSpc>
                <a:spcPct val="90000"/>
              </a:lnSpc>
            </a:pPr>
            <a:r>
              <a:rPr lang="en-US" sz="1000">
                <a:solidFill>
                  <a:schemeClr val="tx1"/>
                </a:solidFill>
              </a:rPr>
              <a:t>From customer who also buy </a:t>
            </a:r>
            <a:r>
              <a:rPr lang="en-US" sz="1000" dirty="0">
                <a:solidFill>
                  <a:schemeClr val="tx1"/>
                </a:solidFill>
              </a:rPr>
              <a:t>target </a:t>
            </a:r>
            <a:r>
              <a:rPr lang="en-US" sz="1000">
                <a:solidFill>
                  <a:schemeClr val="tx1"/>
                </a:solidFill>
              </a:rPr>
              <a:t>goods</a:t>
            </a:r>
            <a:endParaRPr lang="en-US" sz="1000" dirty="0">
              <a:solidFill>
                <a:schemeClr val="tx1"/>
              </a:solidFill>
              <a:cs typeface="Arial"/>
            </a:endParaRPr>
          </a:p>
        </p:txBody>
      </p:sp>
      <p:sp>
        <p:nvSpPr>
          <p:cNvPr id="312" name="Left Brace 311">
            <a:extLst>
              <a:ext uri="{FF2B5EF4-FFF2-40B4-BE49-F238E27FC236}">
                <a16:creationId xmlns:a16="http://schemas.microsoft.com/office/drawing/2014/main" id="{9B476B36-B55C-7A01-37A5-5BD40E51FB04}"/>
              </a:ext>
            </a:extLst>
          </p:cNvPr>
          <p:cNvSpPr/>
          <p:nvPr/>
        </p:nvSpPr>
        <p:spPr>
          <a:xfrm>
            <a:off x="5900179" y="1833563"/>
            <a:ext cx="195821" cy="779463"/>
          </a:xfrm>
          <a:prstGeom prst="leftBrace">
            <a:avLst>
              <a:gd name="adj1" fmla="val 27658"/>
              <a:gd name="adj2" fmla="val 33495"/>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62915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5&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EMEID" val="10"/>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k.IeHHJdEUf.mT3ZX0B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DgzYdhJpvZdHZ48M9Cu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ob2ylmpwweWKpGv7ZVc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T1KVhTsAF_7bJqASvxn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Gqbs7O_k2YpUcbR2uIY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zC14WX7UZAy0zGsryV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JT.QOgyeJNf.h0YE66H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xSfScSHtTjwqjGX7KvC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SK_y370SJj_gikBOIGm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de7loOEni8VeL.E6kP5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P8i1RHRZ2fND7RUqHqF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tfMf3Lks8fUkK1Yfa5c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Sa42vB8MooWAxH0H9nf0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NI4vv56r.kAOxleAOQs1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bdakRPUVI9ddDIrxZAv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xbA7l.3VPoKQAenXDLa8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sD2EhmHRoY1C5lL_dox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kFvdg.wFEe9CKSYwx3Wr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PFTq7332L8YDl3Difby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cWkTb138fkGzGXmMN0S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Ub34Fau9KghWqXj0c63G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oYjXzyAVjhV5coQyegC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mtHmELS2PVv.zq44Nbc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hhiXmftu3DM_.2q3_TN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zePnaRD3qE2E9W4Fa0H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VhoN1wZgYAFDH0l9mBM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ZXRGUj9tnE93_dFAhnA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NzATSg_QscUR4QKaiA_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2JVEFxTmsep1xqt0CDc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WAidcSONvC_cj.QEhkL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J72fXNLWBx3ZrfPBKZ4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GKRFkA6noeRrrigcSlE2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oGEsrLGuvmayhBCB6tJ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omZBT6JJmcR29ZQAvS0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G.GH0y7n9iwwiGlg6L9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ecOwMJNUdxguXK6JsSl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vFkrHzwS5bGrrQomk_79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_Vt4OjVaZs6xGRkj1WAb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0qQ_ZmTstJxACueYt3O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SSWPAtU5JRD24D6Nai.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pP0Xu_TB5ZRj7LJONqWA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RnSYtCwv7Z_hBJ8fj_P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vjBH6tdJdjUoxaiVj6E8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xB7yLD7COy2p.hc9q_B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Zz69hUGrI5V_yPeIjb_d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EMEID" val="10"/>
</p:tagLst>
</file>

<file path=ppt/tags/tag72.xml><?xml version="1.0" encoding="utf-8"?>
<p:tagLst xmlns:a="http://schemas.openxmlformats.org/drawingml/2006/main" xmlns:r="http://schemas.openxmlformats.org/officeDocument/2006/relationships" xmlns:p="http://schemas.openxmlformats.org/presentationml/2006/main">
  <p:tag name="THEMEID" val="1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k0ATT5CTW8mOdGsnZyF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QaKjfxEQPIfxDxBAopS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6O1cx.q2j8LH3yejtys7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2LXYYnWtwfqULfrJOPAHL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Mk6jthLba4TurZujdCq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85AQdOUFryuxi4EMOm_K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bWEVItXKJn6ivj8OGGQ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b2fuKWeDPwpRKtFdgHf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bdY2FKFm_vieJH.GmIj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4tKKgkXDNCbaQoR_8m3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ScobeFzyyHidgnibA8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Pef7E5K.DZkhh.opIRo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tLCeZukkqqkOyMegXgbB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S6JCF2Il_7EqytIN_RkH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Ddlh8dwiKHgK3dndB3jh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DqOeoBd.Bk16vd3vi5h.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6aNvzb67M7F5xcIKydD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TWBgK6LYD.Y4OBtMLio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52hDfaOxAYCIfartBw4d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zHqTHYQznrpdjOdTLhIj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lb9._gX4PxvvsMQvi7ZE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RT365wYM4o9oLWEc5bDP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xP889McmM4zJ8L_qWwo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Xwdb_RZSP8qRThgxWs5r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PnqzoPJKmDzNRirg_9n6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RVNDenKFdjTu23tdOC8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earney Report Template">
  <a:themeElements>
    <a:clrScheme name="Kearney">
      <a:dk1>
        <a:srgbClr val="1E1E1E"/>
      </a:dk1>
      <a:lt1>
        <a:srgbClr val="FFFFFF"/>
      </a:lt1>
      <a:dk2>
        <a:srgbClr val="7823DC"/>
      </a:dk2>
      <a:lt2>
        <a:srgbClr val="F5F5F5"/>
      </a:lt2>
      <a:accent1>
        <a:srgbClr val="D2D2D2"/>
      </a:accent1>
      <a:accent2>
        <a:srgbClr val="A5A5A5"/>
      </a:accent2>
      <a:accent3>
        <a:srgbClr val="787878"/>
      </a:accent3>
      <a:accent4>
        <a:srgbClr val="E6D2FA"/>
      </a:accent4>
      <a:accent5>
        <a:srgbClr val="C8A5F0"/>
      </a:accent5>
      <a:accent6>
        <a:srgbClr val="AF7DEB"/>
      </a:accent6>
      <a:hlink>
        <a:srgbClr val="1D1D1D"/>
      </a:hlink>
      <a:folHlink>
        <a:srgbClr val="1D1D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Blank.potx" id="{3C0DC280-C00E-4116-BF78-5EC877921FFC}" vid="{1C685013-F682-4449-A2ED-ADD1F6CAC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atetime xmlns="ef7c714c-373d-4145-bcf5-304e3907fdc6" xsi:nil="true"/>
    <lcf76f155ced4ddcb4097134ff3c332f xmlns="ef7c714c-373d-4145-bcf5-304e3907fdc6">
      <Terms xmlns="http://schemas.microsoft.com/office/infopath/2007/PartnerControls"/>
    </lcf76f155ced4ddcb4097134ff3c332f>
    <_ip_UnifiedCompliancePolicyProperties xmlns="http://schemas.microsoft.com/sharepoint/v3" xsi:nil="true"/>
    <MaudeMerriman xmlns="ef7c714c-373d-4145-bcf5-304e3907fdc6" xsi:nil="true"/>
    <ArchiverLinkFileType xmlns="ef7c714c-373d-4145-bcf5-304e3907fdc6" xsi:nil="true"/>
    <TaxCatchAll xmlns="716ef63e-5fbc-4012-8a1c-8a3351390bf1" xsi:nil="true"/>
    <a xmlns="ef7c714c-373d-4145-bcf5-304e3907fdc6">
      <UserInfo>
        <DisplayName/>
        <AccountId xsi:nil="true"/>
        <AccountType/>
      </UserInfo>
    </a>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E7723DF838B034186543D433559CB3E" ma:contentTypeVersion="38" ma:contentTypeDescription="Create a new document." ma:contentTypeScope="" ma:versionID="7c3bbc30cf6d5fa83d15b4c23cb143ed">
  <xsd:schema xmlns:xsd="http://www.w3.org/2001/XMLSchema" xmlns:xs="http://www.w3.org/2001/XMLSchema" xmlns:p="http://schemas.microsoft.com/office/2006/metadata/properties" xmlns:ns1="http://schemas.microsoft.com/sharepoint/v3" xmlns:ns2="716ef63e-5fbc-4012-8a1c-8a3351390bf1" xmlns:ns3="ef7c714c-373d-4145-bcf5-304e3907fdc6" targetNamespace="http://schemas.microsoft.com/office/2006/metadata/properties" ma:root="true" ma:fieldsID="459d5079e48723834ca1f62a8d3ee955" ns1:_="" ns2:_="" ns3:_="">
    <xsd:import namespace="http://schemas.microsoft.com/sharepoint/v3"/>
    <xsd:import namespace="716ef63e-5fbc-4012-8a1c-8a3351390bf1"/>
    <xsd:import namespace="ef7c714c-373d-4145-bcf5-304e3907fdc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element ref="ns1:_ip_UnifiedCompliancePolicyProperties" minOccurs="0"/>
                <xsd:element ref="ns1:_ip_UnifiedCompliancePolicyUIAction" minOccurs="0"/>
                <xsd:element ref="ns3:MediaServiceAutoKeyPoints" minOccurs="0"/>
                <xsd:element ref="ns3:MediaServiceKeyPoints" minOccurs="0"/>
                <xsd:element ref="ns3:MediaLengthInSeconds" minOccurs="0"/>
                <xsd:element ref="ns3:MaudeMerriman" minOccurs="0"/>
                <xsd:element ref="ns3:lcf76f155ced4ddcb4097134ff3c332f" minOccurs="0"/>
                <xsd:element ref="ns2:TaxCatchAll" minOccurs="0"/>
                <xsd:element ref="ns3:Datetime" minOccurs="0"/>
                <xsd:element ref="ns3:a" minOccurs="0"/>
                <xsd:element ref="ns3:MediaServiceObjectDetectorVersions" minOccurs="0"/>
                <xsd:element ref="ns3:MediaServiceSearchProperties" minOccurs="0"/>
                <xsd:element ref="ns3:ArchiverLinkFileType"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6ef63e-5fbc-4012-8a1c-8a3351390bf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ac0e22c4-0c84-4a34-a580-e9206e529fc4}" ma:internalName="TaxCatchAll" ma:showField="CatchAllData" ma:web="716ef63e-5fbc-4012-8a1c-8a3351390bf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f7c714c-373d-4145-bcf5-304e3907fd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MaudeMerriman" ma:index="23" nillable="true" ma:displayName="Maude Merriman" ma:format="DateTime" ma:internalName="MaudeMerriman">
      <xsd:simpleType>
        <xsd:restriction base="dms:DateTime"/>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0c350327-7f8b-4e4c-9470-6526d29b839f" ma:termSetId="09814cd3-568e-fe90-9814-8d621ff8fb84" ma:anchorId="fba54fb3-c3e1-fe81-a776-ca4b69148c4d" ma:open="true" ma:isKeyword="false">
      <xsd:complexType>
        <xsd:sequence>
          <xsd:element ref="pc:Terms" minOccurs="0" maxOccurs="1"/>
        </xsd:sequence>
      </xsd:complexType>
    </xsd:element>
    <xsd:element name="Datetime" ma:index="27" nillable="true" ma:displayName="Date &amp; time" ma:format="DateOnly" ma:internalName="Datetime">
      <xsd:simpleType>
        <xsd:restriction base="dms:DateTime"/>
      </xsd:simpleType>
    </xsd:element>
    <xsd:element name="a" ma:index="28" nillable="true" ma:displayName="a" ma:format="Dropdown" ma:list="UserInfo" ma:SharePointGroup="0" ma:internalName="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ArchiverLinkFileType" ma:index="31" nillable="true" ma:displayName="ArchiverLinkFileType" ma:hidden="true" ma:internalName="ArchiverLinkFileType">
      <xsd:simpleType>
        <xsd:restriction base="dms:Text"/>
      </xsd:simpleType>
    </xsd:element>
    <xsd:element name="MediaServiceBillingMetadata" ma:index="32"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3DC16F-0ECA-4357-AF81-A8381DCAFF4F}">
  <ds:schemaRefs>
    <ds:schemaRef ds:uri="http://www.w3.org/XML/1998/namespace"/>
    <ds:schemaRef ds:uri="http://purl.org/dc/elements/1.1/"/>
    <ds:schemaRef ds:uri="http://schemas.microsoft.com/office/2006/metadata/properties"/>
    <ds:schemaRef ds:uri="716ef63e-5fbc-4012-8a1c-8a3351390bf1"/>
    <ds:schemaRef ds:uri="ef7c714c-373d-4145-bcf5-304e3907fdc6"/>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http://schemas.microsoft.com/sharepoint/v3"/>
    <ds:schemaRef ds:uri="http://purl.org/dc/dcmitype/"/>
  </ds:schemaRefs>
</ds:datastoreItem>
</file>

<file path=customXml/itemProps2.xml><?xml version="1.0" encoding="utf-8"?>
<ds:datastoreItem xmlns:ds="http://schemas.openxmlformats.org/officeDocument/2006/customXml" ds:itemID="{6AC0164C-2E93-47A4-913C-30C5B6D1052E}">
  <ds:schemaRefs>
    <ds:schemaRef ds:uri="716ef63e-5fbc-4012-8a1c-8a3351390bf1"/>
    <ds:schemaRef ds:uri="ef7c714c-373d-4145-bcf5-304e3907fd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EF2E5EA-2A40-4B44-957A-DC71D1B832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7</TotalTime>
  <Words>3550</Words>
  <Application>Microsoft Macintosh PowerPoint</Application>
  <PresentationFormat>Widescreen</PresentationFormat>
  <Paragraphs>622</Paragraphs>
  <Slides>26</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8" baseType="lpstr">
      <vt:lpstr>微軟正黑體</vt:lpstr>
      <vt:lpstr>黑体</vt:lpstr>
      <vt:lpstr>Aptos</vt:lpstr>
      <vt:lpstr>Aptos Narrow</vt:lpstr>
      <vt:lpstr>Arial</vt:lpstr>
      <vt:lpstr>Arial Black</vt:lpstr>
      <vt:lpstr>Arial,Sans-Serif</vt:lpstr>
      <vt:lpstr>Calibri</vt:lpstr>
      <vt:lpstr>System Font Regular</vt:lpstr>
      <vt:lpstr>Wingdings</vt:lpstr>
      <vt:lpstr>1_Kearney Report Template</vt:lpstr>
      <vt:lpstr>think-cell Slide</vt:lpstr>
      <vt:lpstr>Strategic Decision-Making Review</vt:lpstr>
      <vt:lpstr>Agenda </vt:lpstr>
      <vt:lpstr>We divided the main problem into different goal statements focusing on each type of products</vt:lpstr>
      <vt:lpstr>Executive Summary </vt:lpstr>
      <vt:lpstr>We implemented a structured workplan to successfully complete the project for our client</vt:lpstr>
      <vt:lpstr>Market is slowing, retailers are shifting focus, and cheaper imports are rising—even as client’s sales hold steady, profit trends are beginning to shift</vt:lpstr>
      <vt:lpstr>Assessing Value Chain Impact of Exiting In-House Production </vt:lpstr>
      <vt:lpstr>Our client can gradually outsource production while shutting down the factory over time to reduce costs, ensuring long-term profitability</vt:lpstr>
      <vt:lpstr>Exiting the target goods has only a minimal impact on durable goods</vt:lpstr>
      <vt:lpstr>Exiting durable goods risks more than profit—it threatens retailer loyalty and fast-moving goods performance</vt:lpstr>
      <vt:lpstr>Strategic Shifts for Brick-and-Mortar &amp; E-commerce</vt:lpstr>
      <vt:lpstr>Strategies for  Brick-and-Mortar: Boost sales by standing out through various retail execution levers</vt:lpstr>
      <vt:lpstr>Strategies for e-commerce: Increase competitiveness on Amazon by placement &amp; advertisement</vt:lpstr>
      <vt:lpstr>Strategies for  e-commerce: Enhancing product appeal by better pricing &amp; rating </vt:lpstr>
      <vt:lpstr>Final Recommendations</vt:lpstr>
      <vt:lpstr>Strategic Path Forward</vt:lpstr>
      <vt:lpstr>Next steps for client is to implement our strategic recommendations</vt:lpstr>
      <vt:lpstr>Appendix</vt:lpstr>
      <vt:lpstr>Appendix 1 Key Numeric Data (2023–24)</vt:lpstr>
      <vt:lpstr>Appendix 2.1</vt:lpstr>
      <vt:lpstr>Appendix 2.2</vt:lpstr>
      <vt:lpstr>Appendix 3.1</vt:lpstr>
      <vt:lpstr>PowerPoint Presentation</vt:lpstr>
      <vt:lpstr>Appendix 4.1</vt:lpstr>
      <vt:lpstr>Appendix 4.2 Potential Next Steps</vt:lpstr>
      <vt:lpstr>Appendix 5 Key risks to consid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 Sivaprasad</dc:creator>
  <cp:lastModifiedBy>Aryan Rajeev Saxena</cp:lastModifiedBy>
  <cp:revision>61</cp:revision>
  <dcterms:created xsi:type="dcterms:W3CDTF">2025-04-05T10:13:36Z</dcterms:created>
  <dcterms:modified xsi:type="dcterms:W3CDTF">2025-04-24T20:1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7723DF838B034186543D433559CB3E</vt:lpwstr>
  </property>
  <property fmtid="{D5CDD505-2E9C-101B-9397-08002B2CF9AE}" pid="3" name="MSIP_Label_0e815a84-bb14-486b-9367-c1af54c95fa4_Enabled">
    <vt:lpwstr>true</vt:lpwstr>
  </property>
  <property fmtid="{D5CDD505-2E9C-101B-9397-08002B2CF9AE}" pid="4" name="MSIP_Label_0e815a84-bb14-486b-9367-c1af54c95fa4_SetDate">
    <vt:lpwstr>2022-11-07T17:18:51Z</vt:lpwstr>
  </property>
  <property fmtid="{D5CDD505-2E9C-101B-9397-08002B2CF9AE}" pid="5" name="MSIP_Label_0e815a84-bb14-486b-9367-c1af54c95fa4_Method">
    <vt:lpwstr>Privileged</vt:lpwstr>
  </property>
  <property fmtid="{D5CDD505-2E9C-101B-9397-08002B2CF9AE}" pid="6" name="MSIP_Label_0e815a84-bb14-486b-9367-c1af54c95fa4_Name">
    <vt:lpwstr>Standard</vt:lpwstr>
  </property>
  <property fmtid="{D5CDD505-2E9C-101B-9397-08002B2CF9AE}" pid="7" name="MSIP_Label_0e815a84-bb14-486b-9367-c1af54c95fa4_SiteId">
    <vt:lpwstr>5dc645ed-297f-4dca-b0af-2339c71c5388</vt:lpwstr>
  </property>
  <property fmtid="{D5CDD505-2E9C-101B-9397-08002B2CF9AE}" pid="8" name="MSIP_Label_0e815a84-bb14-486b-9367-c1af54c95fa4_ActionId">
    <vt:lpwstr>ce246d1c-37b9-4eb5-8a18-2ecb0cf7a017</vt:lpwstr>
  </property>
  <property fmtid="{D5CDD505-2E9C-101B-9397-08002B2CF9AE}" pid="9" name="MSIP_Label_0e815a84-bb14-486b-9367-c1af54c95fa4_ContentBits">
    <vt:lpwstr>0</vt:lpwstr>
  </property>
  <property fmtid="{D5CDD505-2E9C-101B-9397-08002B2CF9AE}" pid="10" name="MediaServiceImageTags">
    <vt:lpwstr/>
  </property>
  <property fmtid="{D5CDD505-2E9C-101B-9397-08002B2CF9AE}" pid="11" name="MSIP_Label_f7606f69-b0ae-4874-be30-7d43a3c7be10_Enabled">
    <vt:lpwstr>true</vt:lpwstr>
  </property>
  <property fmtid="{D5CDD505-2E9C-101B-9397-08002B2CF9AE}" pid="12" name="MSIP_Label_f7606f69-b0ae-4874-be30-7d43a3c7be10_SetDate">
    <vt:lpwstr>2025-04-11T15:56:24Z</vt:lpwstr>
  </property>
  <property fmtid="{D5CDD505-2E9C-101B-9397-08002B2CF9AE}" pid="13" name="MSIP_Label_f7606f69-b0ae-4874-be30-7d43a3c7be10_Method">
    <vt:lpwstr>Privileged</vt:lpwstr>
  </property>
  <property fmtid="{D5CDD505-2E9C-101B-9397-08002B2CF9AE}" pid="14" name="MSIP_Label_f7606f69-b0ae-4874-be30-7d43a3c7be10_Name">
    <vt:lpwstr>defa4170-0d19-0005-0001-bc88714345d2</vt:lpwstr>
  </property>
  <property fmtid="{D5CDD505-2E9C-101B-9397-08002B2CF9AE}" pid="15" name="MSIP_Label_f7606f69-b0ae-4874-be30-7d43a3c7be10_SiteId">
    <vt:lpwstr>4130bd39-7c53-419c-b1e5-8758d6d63f21</vt:lpwstr>
  </property>
  <property fmtid="{D5CDD505-2E9C-101B-9397-08002B2CF9AE}" pid="16" name="MSIP_Label_f7606f69-b0ae-4874-be30-7d43a3c7be10_ActionId">
    <vt:lpwstr>66e7bd20-9f78-476d-abee-d70c927714e5</vt:lpwstr>
  </property>
  <property fmtid="{D5CDD505-2E9C-101B-9397-08002B2CF9AE}" pid="17" name="MSIP_Label_f7606f69-b0ae-4874-be30-7d43a3c7be10_ContentBits">
    <vt:lpwstr>0</vt:lpwstr>
  </property>
  <property fmtid="{D5CDD505-2E9C-101B-9397-08002B2CF9AE}" pid="18" name="MSIP_Label_f7606f69-b0ae-4874-be30-7d43a3c7be10_Tag">
    <vt:lpwstr>50, 0, 1, 1</vt:lpwstr>
  </property>
</Properties>
</file>